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2" r:id="rId4"/>
    <p:sldMasterId id="2147483763" r:id="rId5"/>
    <p:sldMasterId id="2147483775" r:id="rId6"/>
  </p:sldMasterIdLst>
  <p:notesMasterIdLst>
    <p:notesMasterId r:id="rId27"/>
  </p:notesMasterIdLst>
  <p:sldIdLst>
    <p:sldId id="296" r:id="rId7"/>
    <p:sldId id="297" r:id="rId8"/>
    <p:sldId id="288" r:id="rId9"/>
    <p:sldId id="299" r:id="rId10"/>
    <p:sldId id="294" r:id="rId11"/>
    <p:sldId id="310" r:id="rId12"/>
    <p:sldId id="293" r:id="rId13"/>
    <p:sldId id="304" r:id="rId14"/>
    <p:sldId id="306" r:id="rId15"/>
    <p:sldId id="309" r:id="rId16"/>
    <p:sldId id="307" r:id="rId17"/>
    <p:sldId id="308" r:id="rId18"/>
    <p:sldId id="311" r:id="rId19"/>
    <p:sldId id="305" r:id="rId20"/>
    <p:sldId id="303" r:id="rId21"/>
    <p:sldId id="302" r:id="rId22"/>
    <p:sldId id="283" r:id="rId23"/>
    <p:sldId id="256" r:id="rId24"/>
    <p:sldId id="300" r:id="rId25"/>
    <p:sldId id="1146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ACB2"/>
    <a:srgbClr val="FFC000"/>
    <a:srgbClr val="FF0000"/>
    <a:srgbClr val="318B71"/>
    <a:srgbClr val="1CADE4"/>
    <a:srgbClr val="FFD4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668" autoAdjust="0"/>
    <p:restoredTop sz="94619" autoAdjust="0"/>
  </p:normalViewPr>
  <p:slideViewPr>
    <p:cSldViewPr snapToGrid="0">
      <p:cViewPr varScale="1">
        <p:scale>
          <a:sx n="82" d="100"/>
          <a:sy n="82" d="100"/>
        </p:scale>
        <p:origin x="979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4" d="100"/>
        <a:sy n="64" d="100"/>
      </p:scale>
      <p:origin x="0" y="-29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mon Russell" userId="edca1ecc7d5b0881" providerId="LiveId" clId="{4B8BCDED-9492-4217-8131-781AE4CF1EC3}"/>
    <pc:docChg chg="modSld">
      <pc:chgData name="Simon Russell" userId="edca1ecc7d5b0881" providerId="LiveId" clId="{4B8BCDED-9492-4217-8131-781AE4CF1EC3}" dt="2021-03-03T05:36:12.822" v="3" actId="113"/>
      <pc:docMkLst>
        <pc:docMk/>
      </pc:docMkLst>
      <pc:sldChg chg="modSp mod">
        <pc:chgData name="Simon Russell" userId="edca1ecc7d5b0881" providerId="LiveId" clId="{4B8BCDED-9492-4217-8131-781AE4CF1EC3}" dt="2021-03-03T05:36:12.822" v="3" actId="113"/>
        <pc:sldMkLst>
          <pc:docMk/>
          <pc:sldMk cId="3144834060" sldId="307"/>
        </pc:sldMkLst>
        <pc:spChg chg="mod">
          <ac:chgData name="Simon Russell" userId="edca1ecc7d5b0881" providerId="LiveId" clId="{4B8BCDED-9492-4217-8131-781AE4CF1EC3}" dt="2021-03-03T05:36:12.822" v="3" actId="113"/>
          <ac:spMkLst>
            <pc:docMk/>
            <pc:sldMk cId="3144834060" sldId="307"/>
            <ac:spMk id="3" creationId="{34047DE0-587E-44F8-9883-8BB253589637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d.docs.live.net/edca1ecc7d5b0881/EAGLE%20AVIATION%20CONSULTING/A%20business%20leads/ADB/Survey/Analysis%20survey%20-%2009MAR2018%20Simon%20v6a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d.docs.live.net/edca1ecc7d5b0881/EAGLE%20AVIATION%20CONSULTING/A%20business%20leads/ADB/Survey/Analysis%20survey%20-%2009MAR2018%20Simon%20v6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dirty="0"/>
              <a:t>Cargo volume - </a:t>
            </a:r>
            <a:r>
              <a:rPr lang="en-US" sz="1600" dirty="0" err="1"/>
              <a:t>tonnes</a:t>
            </a:r>
            <a:r>
              <a:rPr lang="en-US" sz="1600" dirty="0"/>
              <a:t> / </a:t>
            </a:r>
            <a:r>
              <a:rPr lang="az-Cyrl-AZ" sz="1600" dirty="0"/>
              <a:t>Объем груза - тонны</a:t>
            </a:r>
            <a:endParaRPr lang="en-US" sz="1600" dirty="0"/>
          </a:p>
          <a:p>
            <a:pPr>
              <a:defRPr sz="1600"/>
            </a:pPr>
            <a:r>
              <a:rPr lang="en-US" sz="1600" dirty="0"/>
              <a:t>2016/17</a:t>
            </a:r>
          </a:p>
        </c:rich>
      </c:tx>
      <c:layout>
        <c:manualLayout>
          <c:xMode val="edge"/>
          <c:yMode val="edge"/>
          <c:x val="0.12661940172791375"/>
          <c:y val="8.77417063792883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5341461623002184"/>
          <c:y val="0.14342228235177482"/>
          <c:w val="0.8262777970837607"/>
          <c:h val="0.577369963077668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Analysis survey - 09MAR2018 Simon v6a.xlsx]Charts 2021'!$A$22</c:f>
              <c:strCache>
                <c:ptCount val="1"/>
                <c:pt idx="0">
                  <c:v>Cargo volume - tonn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[Analysis survey - 09MAR2018 Simon v6a.xlsx]Charts 2021'!$B$3:$I$3</c:f>
              <c:strCache>
                <c:ptCount val="8"/>
                <c:pt idx="0">
                  <c:v>Kyrgyz / Кыргызстан</c:v>
                </c:pt>
                <c:pt idx="1">
                  <c:v>Tajikistan / Таджикистан</c:v>
                </c:pt>
                <c:pt idx="2">
                  <c:v>Mongolia / Монголия</c:v>
                </c:pt>
                <c:pt idx="3">
                  <c:v>Georgia / Грузия</c:v>
                </c:pt>
                <c:pt idx="4">
                  <c:v>Kazakhstan / Казахстан</c:v>
                </c:pt>
                <c:pt idx="5">
                  <c:v>Uzbekistan / Узбекистан</c:v>
                </c:pt>
                <c:pt idx="6">
                  <c:v>Turkmenistan / Туркменистан</c:v>
                </c:pt>
                <c:pt idx="7">
                  <c:v>Azerbaijan / Азербайджан</c:v>
                </c:pt>
              </c:strCache>
            </c:strRef>
          </c:cat>
          <c:val>
            <c:numRef>
              <c:f>'[Analysis survey - 09MAR2018 Simon v6a.xlsx]Charts 2021'!$B$22:$I$22</c:f>
              <c:numCache>
                <c:formatCode>_-* #,##0_-;\-* #,##0_-;_-* "-"??_-;_-@_-</c:formatCode>
                <c:ptCount val="8"/>
                <c:pt idx="0">
                  <c:v>25230</c:v>
                </c:pt>
                <c:pt idx="1">
                  <c:v>3577</c:v>
                </c:pt>
                <c:pt idx="2">
                  <c:v>4409</c:v>
                </c:pt>
                <c:pt idx="3">
                  <c:v>34000</c:v>
                </c:pt>
                <c:pt idx="4">
                  <c:v>69576</c:v>
                </c:pt>
                <c:pt idx="5">
                  <c:v>53819</c:v>
                </c:pt>
                <c:pt idx="6">
                  <c:v>20911</c:v>
                </c:pt>
                <c:pt idx="7">
                  <c:v>1445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80-4D74-B75B-6B434D77E5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1"/>
        <c:axId val="2040163871"/>
        <c:axId val="2040163455"/>
      </c:barChart>
      <c:catAx>
        <c:axId val="20401638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40163455"/>
        <c:crosses val="autoZero"/>
        <c:auto val="1"/>
        <c:lblAlgn val="ctr"/>
        <c:lblOffset val="100"/>
        <c:noMultiLvlLbl val="0"/>
      </c:catAx>
      <c:valAx>
        <c:axId val="20401634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NZ"/>
                  <a:t>Tonnes per annum / </a:t>
                </a:r>
                <a:r>
                  <a:rPr lang="az-Cyrl-AZ"/>
                  <a:t>Тонн в год</a:t>
                </a:r>
                <a:endParaRPr lang="en-NZ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401638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/>
              <a:t>CAREC signed </a:t>
            </a:r>
            <a:r>
              <a:rPr lang="en-US" sz="1400" dirty="0" err="1"/>
              <a:t>bilaterals</a:t>
            </a:r>
            <a:r>
              <a:rPr lang="en-US" sz="1400" dirty="0"/>
              <a:t> / </a:t>
            </a:r>
            <a:r>
              <a:rPr lang="az-Cyrl-AZ" sz="1400" dirty="0"/>
              <a:t>ЦАРЭС подписал</a:t>
            </a:r>
          </a:p>
          <a:p>
            <a:pPr>
              <a:defRPr sz="1600"/>
            </a:pPr>
            <a:r>
              <a:rPr lang="az-Cyrl-AZ" sz="1400" dirty="0"/>
              <a:t>    двусторонние соглашения</a:t>
            </a:r>
            <a:r>
              <a:rPr lang="en-US" sz="1400" dirty="0"/>
              <a:t> </a:t>
            </a:r>
          </a:p>
          <a:p>
            <a:pPr>
              <a:defRPr sz="1600"/>
            </a:pPr>
            <a:r>
              <a:rPr lang="en-US" sz="1600" dirty="0"/>
              <a:t>2017/2018</a:t>
            </a:r>
            <a:endParaRPr lang="az-Cyrl-AZ" sz="1600" dirty="0"/>
          </a:p>
        </c:rich>
      </c:tx>
      <c:layout>
        <c:manualLayout>
          <c:xMode val="edge"/>
          <c:yMode val="edge"/>
          <c:x val="0.13165581486817524"/>
          <c:y val="8.863252738360931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5341461623002184"/>
          <c:y val="0.16097070810073971"/>
          <c:w val="0.8262777970837607"/>
          <c:h val="0.549533574974548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Analysis survey - 09MAR2018 Simon v6a.xlsx]Charts 2021'!$A$23</c:f>
              <c:strCache>
                <c:ptCount val="1"/>
                <c:pt idx="0">
                  <c:v>CAREC signed bilaterals / ЦАРЭС подписал
    двусторонние соглашения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Analysis survey - 09MAR2018 Simon v6a.xlsx]Charts 2021'!$B$3:$I$3</c:f>
              <c:strCache>
                <c:ptCount val="8"/>
                <c:pt idx="0">
                  <c:v>Kyrgyz / Кыргызстан</c:v>
                </c:pt>
                <c:pt idx="1">
                  <c:v>Tajikistan / Таджикистан</c:v>
                </c:pt>
                <c:pt idx="2">
                  <c:v>Mongolia / Монголия</c:v>
                </c:pt>
                <c:pt idx="3">
                  <c:v>Georgia / Грузия</c:v>
                </c:pt>
                <c:pt idx="4">
                  <c:v>Kazakhstan / Казахстан</c:v>
                </c:pt>
                <c:pt idx="5">
                  <c:v>Uzbekistan / Узбекистан</c:v>
                </c:pt>
                <c:pt idx="6">
                  <c:v>Turkmenistan / Туркменистан</c:v>
                </c:pt>
                <c:pt idx="7">
                  <c:v>Azerbaijan / Азербайджан</c:v>
                </c:pt>
              </c:strCache>
            </c:strRef>
          </c:cat>
          <c:val>
            <c:numRef>
              <c:f>'[Analysis survey - 09MAR2018 Simon v6a.xlsx]Charts 2021'!$B$23:$I$23</c:f>
              <c:numCache>
                <c:formatCode>General</c:formatCode>
                <c:ptCount val="8"/>
                <c:pt idx="0">
                  <c:v>9</c:v>
                </c:pt>
                <c:pt idx="1">
                  <c:v>8</c:v>
                </c:pt>
                <c:pt idx="2">
                  <c:v>6</c:v>
                </c:pt>
                <c:pt idx="3">
                  <c:v>7</c:v>
                </c:pt>
                <c:pt idx="4">
                  <c:v>10</c:v>
                </c:pt>
                <c:pt idx="5">
                  <c:v>7</c:v>
                </c:pt>
                <c:pt idx="6">
                  <c:v>10</c:v>
                </c:pt>
                <c:pt idx="7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F0-4216-B58C-7837F238E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1"/>
        <c:axId val="2040163871"/>
        <c:axId val="2040163455"/>
      </c:barChart>
      <c:catAx>
        <c:axId val="20401638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40163455"/>
        <c:crosses val="autoZero"/>
        <c:auto val="1"/>
        <c:lblAlgn val="ctr"/>
        <c:lblOffset val="100"/>
        <c:noMultiLvlLbl val="0"/>
      </c:catAx>
      <c:valAx>
        <c:axId val="20401634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NZ" sz="1050"/>
                  <a:t>Bilaterals signed / </a:t>
                </a:r>
                <a:r>
                  <a:rPr lang="az-Cyrl-AZ" sz="1050"/>
                  <a:t>Подписанные двусторонние соглашения</a:t>
                </a:r>
                <a:r>
                  <a:rPr lang="en-NZ" sz="1050"/>
                  <a:t> - 2018</a:t>
                </a:r>
              </a:p>
            </c:rich>
          </c:tx>
          <c:layout>
            <c:manualLayout>
              <c:xMode val="edge"/>
              <c:yMode val="edge"/>
              <c:x val="3.9400703799708427E-2"/>
              <c:y val="0.1089185759392125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5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401638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9219CE-13DB-4E37-9F70-312920A334E4}" type="datetimeFigureOut">
              <a:rPr lang="en-NZ" smtClean="0"/>
              <a:t>3/03/2021</a:t>
            </a:fld>
            <a:endParaRPr lang="en-N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9BFBD6-887D-4066-BA22-73439EDFDDD4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5692660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6534" y="3085764"/>
            <a:ext cx="11298932" cy="3338149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FA0ACE7-29A8-47D3-A7D9-257B711D80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EB12CD-DEA7-428E-98E6-E00532E44045}" type="datetime1">
              <a:rPr lang="en-US" smtClean="0"/>
              <a:t>3/3/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EC604B9-52E9-4810-8359-47206518D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898A89F-CA25-400F-B05A-AECBF2517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0175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4B9B4-3B62-4AA6-BAF5-01C0CF5F77F7}" type="datetime1">
              <a:rPr lang="en-US" smtClean="0"/>
              <a:t>3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5911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8058151" y="599725"/>
            <a:ext cx="3687316" cy="5816950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04200" y="863600"/>
            <a:ext cx="3124200" cy="4807326"/>
          </a:xfrm>
        </p:spPr>
        <p:txBody>
          <a:bodyPr vert="eaVert"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4923" y="863600"/>
            <a:ext cx="7161625" cy="4807326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423B97-A5D4-47B9-8861-73B3707A04CF}"/>
              </a:ext>
            </a:extLst>
          </p:cNvPr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EC0421-37B4-4481-A10D-69FDF5EC7909}"/>
              </a:ext>
            </a:extLst>
          </p:cNvPr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F7265B5-9F97-4F1E-99E9-74F7B7E62337}"/>
              </a:ext>
            </a:extLst>
          </p:cNvPr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5C74A470-3BD3-4F33-80E5-67E6E87FC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7168D-C0AF-49C7-8465-7A286FF1C31F}" type="datetime1">
              <a:rPr lang="en-US" smtClean="0"/>
              <a:t>3/3/2021</a:t>
            </a:fld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A3A30BA-DB50-4D7D-BCDE-17D20FB354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76FF9E58-C0B2-436B-A21C-DB45A00D6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849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999576-DE4A-4E76-BF2B-776A34E0E4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14B7B1F-0859-4AC8-9478-718C3886F0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N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DE094D-5C40-4E74-A4FA-A3FB476879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BDAD62-1F53-4693-9159-3A388D89E5B7}" type="datetime1">
              <a:rPr lang="en-US" smtClean="0"/>
              <a:t>3/3/2021</a:t>
            </a:fld>
            <a:endParaRPr lang="en-N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1D52C7-A5B8-4445-A57B-550C288369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F3BBFA-2669-4BA4-94E1-DDF4377E84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52E9-9879-41B1-B3D0-77AFD6060852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1521285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E22E50-2418-47FF-B7DB-4D256883B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7B6D07-8883-4B4B-9709-435FC577C6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BB36D0-4D14-4D3E-82B1-F027A1F58C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5A539-FAA5-4D51-A31B-1AD6323CF0EF}" type="datetime1">
              <a:rPr lang="en-US" smtClean="0"/>
              <a:t>3/3/2021</a:t>
            </a:fld>
            <a:endParaRPr lang="en-N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720182-18C7-433A-8101-BEA581E09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58B808-1A1D-4A77-875C-566884095F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52E9-9879-41B1-B3D0-77AFD6060852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7270867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7751E-FB1B-4554-B02A-6B75F52B73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DBAB17-0617-46CC-A05C-D1B8BB1354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B10E7C-3C97-4F52-A3CE-333E32F3B4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9001E-3D44-483D-A2B4-28557BFDF7DE}" type="datetime1">
              <a:rPr lang="en-US" smtClean="0"/>
              <a:t>3/3/2021</a:t>
            </a:fld>
            <a:endParaRPr lang="en-N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933DCF-D009-42A6-AB87-2B537F26A9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936B40-551F-4756-9257-4C81227568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52E9-9879-41B1-B3D0-77AFD6060852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5283859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BE8D05-8D35-4778-96BD-3734CC5C3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378F2C-4A0D-4796-88B0-4B2107680D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85F82A-3524-4D84-93FD-74131F25E2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C4FC43-C9D2-4EAE-A26B-7939E94D48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AF5445-7035-4E30-801F-973A0C8D7390}" type="datetime1">
              <a:rPr lang="en-US" smtClean="0"/>
              <a:t>3/3/2021</a:t>
            </a:fld>
            <a:endParaRPr lang="en-N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F4424A7-61FF-4CDA-993E-E12336CA4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B968A1-9EB6-440E-B8D3-1D1FA31371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52E9-9879-41B1-B3D0-77AFD6060852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6075137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24BEE-32FF-4B82-8449-E4AAC24EBB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413884-67FB-47F6-8C22-93461F13D4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018B07-9166-4274-84C4-86874D40E5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59C1F3-3AA6-4000-B4B6-A0B8674A376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5A56025-9787-4B41-90D0-DD9BF95982D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B5975E4-4205-4F68-BC63-8D15ADD365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18BA1B-1A3E-433C-A8A2-C80C5887CB19}" type="datetime1">
              <a:rPr lang="en-US" smtClean="0"/>
              <a:t>3/3/2021</a:t>
            </a:fld>
            <a:endParaRPr lang="en-N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EFD7B8E-6632-4744-9404-48BF46FE36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86A523C-66EA-4316-8638-9EF2F9868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52E9-9879-41B1-B3D0-77AFD6060852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41267697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289EB2-316C-46E7-BB70-DEF038DF4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CD536A-8897-4E32-8CB2-7BA08FC1B4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FEA31A-A560-48CD-A0B7-DEDF633E8B0A}" type="datetime1">
              <a:rPr lang="en-US" smtClean="0"/>
              <a:t>3/3/2021</a:t>
            </a:fld>
            <a:endParaRPr lang="en-N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00C1F1-364D-4847-BEBE-FEB4689C5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EFF486-0ADB-4690-BDF7-0ED39551A8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52E9-9879-41B1-B3D0-77AFD6060852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2259181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90660D-E794-4778-AFC4-38CF59A82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6680D9-CB5F-4496-8F5E-BFC30A1DD9EC}" type="datetime1">
              <a:rPr lang="en-US" smtClean="0"/>
              <a:t>3/3/2021</a:t>
            </a:fld>
            <a:endParaRPr lang="en-N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6DECEE-7911-4BFF-AF2E-BDE44D1E8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BE21DF-F51F-4C98-B095-D0FE1A608A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52E9-9879-41B1-B3D0-77AFD6060852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33285262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9543C-8E99-4C1D-AB77-78FE2553B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682A3E-DD43-41FA-B5BA-CFCF845BA0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C3F642-138F-4036-9748-9FC945AAD3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102876-39FF-4370-8586-966BFBB58B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5953D-4011-4262-8D4A-9B5AFCE7DC31}" type="datetime1">
              <a:rPr lang="en-US" smtClean="0"/>
              <a:t>3/3/2021</a:t>
            </a:fld>
            <a:endParaRPr lang="en-N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1D5C11-9BA4-4A5B-9C94-5E73E0B2C9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AD9F12-E48D-4D02-959E-656F4381ED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52E9-9879-41B1-B3D0-77AFD6060852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9591043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1887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340864"/>
            <a:ext cx="11029615" cy="36344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70E6237-3456-439F-802D-3BA93FC7E3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34195B-F080-413C-9C9B-B23E62B6F1CE}" type="datetime1">
              <a:rPr lang="en-US" smtClean="0"/>
              <a:t>3/3/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56D3B5-6063-4A89-B88F-9D3043916F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29966" y="6423914"/>
            <a:ext cx="6068436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2B78BF7-69D3-4CE0-A631-50EFD41E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5" name="Picture 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DD2FCE1-ADBF-4F8B-9872-BFBB4F06C5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266" y="6423914"/>
            <a:ext cx="1114150" cy="297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4434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3F3DAF-3A6D-464C-96AC-17910FE76C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734DC7F-25C7-46B1-B041-77852804F1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6CEB5A-8E25-4D07-96D9-82D8753443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2C29BA-BC90-460E-8E54-1796A30A96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1A5A1-1DB8-40A3-A5E0-7A66CB728727}" type="datetime1">
              <a:rPr lang="en-US" smtClean="0"/>
              <a:t>3/3/2021</a:t>
            </a:fld>
            <a:endParaRPr lang="en-N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75EB08-B314-448B-834B-4B81B79A8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3E6B1A-6B4D-483A-8049-7168786065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52E9-9879-41B1-B3D0-77AFD6060852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34477846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496499-AD21-4B63-AE8B-542FE1E20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07B275C-0189-4736-9107-BC9E13E417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5244A7-8DCC-4F25-9725-089B8234E9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4356E5-DBD8-4742-8729-CC1DB75CEAED}" type="datetime1">
              <a:rPr lang="en-US" smtClean="0"/>
              <a:t>3/3/2021</a:t>
            </a:fld>
            <a:endParaRPr lang="en-N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AA27AD-DFB3-470A-A6F1-F4C68B5652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A3938B-F098-49F0-AD7E-8A4A7E0DC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52E9-9879-41B1-B3D0-77AFD6060852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3703057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75094CC-4D4A-4E7E-B347-2124BC8B8E5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E86640F-D595-481C-B929-5B677DD25B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3B0553-DC67-4970-8D5B-08E7DF95B0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35475-4951-4BA1-A513-E707D512101C}" type="datetime1">
              <a:rPr lang="en-US" smtClean="0"/>
              <a:t>3/3/2021</a:t>
            </a:fld>
            <a:endParaRPr lang="en-N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689F08-DCDF-4A1C-8564-D5FB7B03A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2D049E-D02B-4A10-978C-7F5D0828A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52E9-9879-41B1-B3D0-77AFD6060852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3799012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6534" y="3085764"/>
            <a:ext cx="11298932" cy="3338149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FA0ACE7-29A8-47D3-A7D9-257B711D80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EC604B9-52E9-4810-8359-47206518D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898A89F-CA25-400F-B05A-AECBF2517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65441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1887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340864"/>
            <a:ext cx="11029615" cy="36344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70E6237-3456-439F-802D-3BA93FC7E3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56D3B5-6063-4A89-B88F-9D3043916F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2B78BF7-69D3-4CE0-A631-50EFD41E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856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7817" y="5141974"/>
            <a:ext cx="11290860" cy="125882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2393950"/>
            <a:ext cx="11029615" cy="2147467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4541417"/>
            <a:ext cx="11029615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1582016-5696-4A93-887F-BBB3B9002F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7CFCD5-1192-4E18-8A8F-29E153B44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39A109E-5018-4794-92B3-FD5E5BCD9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90464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194767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6039" y="2228003"/>
            <a:ext cx="5194769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4253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1" y="2250891"/>
            <a:ext cx="5194769" cy="557784"/>
          </a:xfrm>
        </p:spPr>
        <p:txBody>
          <a:bodyPr anchor="ctr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194" y="2926052"/>
            <a:ext cx="5194766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6039" y="2250892"/>
            <a:ext cx="5194770" cy="553373"/>
          </a:xfrm>
        </p:spPr>
        <p:txBody>
          <a:bodyPr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None/>
              <a:tabLst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6037" y="2926052"/>
            <a:ext cx="5194771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7873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73840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9515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7817" y="5141974"/>
            <a:ext cx="11290860" cy="125882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2393950"/>
            <a:ext cx="11029615" cy="2147467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4541417"/>
            <a:ext cx="11029615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1582016-5696-4A93-887F-BBB3B9002F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A40D6B-DFDA-4EC1-BC14-CDBBEBF9D0C4}" type="datetime1">
              <a:rPr lang="en-US" smtClean="0"/>
              <a:t>3/3/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7CFCD5-1192-4E18-8A8F-29E153B44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39A109E-5018-4794-92B3-FD5E5BCD9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809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447817" y="601200"/>
            <a:ext cx="3682723" cy="5815475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857" y="933450"/>
            <a:ext cx="3031852" cy="1722419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00928" y="1179829"/>
            <a:ext cx="6650991" cy="4658216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7857" y="2836654"/>
            <a:ext cx="3031852" cy="3001392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FFFFFF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B919CC2-2A65-446F-B538-9E62490354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05951" y="6456916"/>
            <a:ext cx="2844799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72412AE-119E-4982-8B24-63365EFCA7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1192" y="6452590"/>
            <a:ext cx="691721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FC4BB19-6AD1-45CF-9F99-00B109890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6456916"/>
            <a:ext cx="1052510" cy="365125"/>
          </a:xfrm>
        </p:spPr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2633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4693389"/>
            <a:ext cx="11029616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7817" y="641350"/>
            <a:ext cx="11290859" cy="365124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1192" y="5260127"/>
            <a:ext cx="11029617" cy="998148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</p:spPr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7819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62858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8058151" y="599725"/>
            <a:ext cx="3687316" cy="5816950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04200" y="863600"/>
            <a:ext cx="3124200" cy="4807326"/>
          </a:xfrm>
        </p:spPr>
        <p:txBody>
          <a:bodyPr vert="eaVert"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4923" y="863600"/>
            <a:ext cx="7161625" cy="4807326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423B97-A5D4-47B9-8861-73B3707A04CF}"/>
              </a:ext>
            </a:extLst>
          </p:cNvPr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EC0421-37B4-4481-A10D-69FDF5EC7909}"/>
              </a:ext>
            </a:extLst>
          </p:cNvPr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F7265B5-9F97-4F1E-99E9-74F7B7E62337}"/>
              </a:ext>
            </a:extLst>
          </p:cNvPr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5C74A470-3BD3-4F33-80E5-67E6E87FC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A3A30BA-DB50-4D7D-BCDE-17D20FB354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76FF9E58-C0B2-436B-A21C-DB45A00D6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9581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554112" y="410830"/>
            <a:ext cx="11097217" cy="107312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54111" y="942478"/>
            <a:ext cx="11097006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rgbClr val="7F7F7F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762651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194767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6039" y="2228003"/>
            <a:ext cx="5194769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0838A-9A70-41EE-812F-90A540C73C61}" type="datetime1">
              <a:rPr lang="en-US" smtClean="0"/>
              <a:t>3/3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3232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1" y="2250891"/>
            <a:ext cx="5194769" cy="557784"/>
          </a:xfrm>
        </p:spPr>
        <p:txBody>
          <a:bodyPr anchor="ctr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194" y="2926052"/>
            <a:ext cx="5194766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6039" y="2250892"/>
            <a:ext cx="5194770" cy="553373"/>
          </a:xfrm>
        </p:spPr>
        <p:txBody>
          <a:bodyPr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None/>
              <a:tabLst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6037" y="2926052"/>
            <a:ext cx="5194771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FDA93-0B20-4391-874D-7F9F79019554}" type="datetime1">
              <a:rPr lang="en-US" smtClean="0"/>
              <a:t>3/3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046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1A0D84-B86A-497C-972D-800104FAAE5F}" type="datetime1">
              <a:rPr lang="en-US" smtClean="0"/>
              <a:t>3/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363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288001-CB24-4631-846F-3A773B2E3079}" type="datetime1">
              <a:rPr lang="en-US" smtClean="0"/>
              <a:t>3/3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4949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447817" y="601200"/>
            <a:ext cx="3682723" cy="5815475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857" y="933450"/>
            <a:ext cx="3031852" cy="1722419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00928" y="1179829"/>
            <a:ext cx="6650991" cy="4658216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7857" y="2836654"/>
            <a:ext cx="3031852" cy="3001392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FFFFFF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B919CC2-2A65-446F-B538-9E62490354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05951" y="6456916"/>
            <a:ext cx="2844799" cy="365125"/>
          </a:xfrm>
        </p:spPr>
        <p:txBody>
          <a:bodyPr/>
          <a:lstStyle/>
          <a:p>
            <a:fld id="{82AF7AD3-DF2B-4834-9EFA-85ADB893DECF}" type="datetime1">
              <a:rPr lang="en-US" smtClean="0"/>
              <a:t>3/3/2021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72412AE-119E-4982-8B24-63365EFCA7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1192" y="6452590"/>
            <a:ext cx="691721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FC4BB19-6AD1-45CF-9F99-00B109890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6456916"/>
            <a:ext cx="1052510" cy="365125"/>
          </a:xfrm>
        </p:spPr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7666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4693389"/>
            <a:ext cx="11029616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7817" y="641350"/>
            <a:ext cx="11290859" cy="365124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1192" y="5260127"/>
            <a:ext cx="11029617" cy="998148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DBB1E-A04D-4AD1-A616-2452644F2F49}" type="datetime1">
              <a:rPr lang="en-US" smtClean="0"/>
              <a:t>3/3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2895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3.sv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336002"/>
            <a:ext cx="11029616" cy="3652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09CBA3A7-0F3B-42C7-9217-2FC3C9C9AA9B}" type="datetime1">
              <a:rPr lang="en-US" smtClean="0"/>
              <a:t>3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000897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11" r:id="rId5"/>
    <p:sldLayoutId id="2147483760" r:id="rId6"/>
    <p:sldLayoutId id="2147483762" r:id="rId7"/>
    <p:sldLayoutId id="2147483706" r:id="rId8"/>
    <p:sldLayoutId id="2147483709" r:id="rId9"/>
    <p:sldLayoutId id="2147483707" r:id="rId10"/>
    <p:sldLayoutId id="2147483708" r:id="rId11"/>
  </p:sldLayoutIdLst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800" b="0" kern="1200" cap="all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lnSpc>
          <a:spcPct val="110000"/>
        </a:lnSpc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7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DCFB829-1B01-4A24-BC82-5F453AD485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8F90EA-B2B2-4E8C-A4AB-803AE1C962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032552-4583-4EC2-A419-CB2B9F2655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24E4B8-325A-426A-85D4-4D7C058917CA}" type="datetime1">
              <a:rPr lang="en-US" smtClean="0"/>
              <a:t>3/3/2021</a:t>
            </a:fld>
            <a:endParaRPr lang="en-N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AA863F-E858-40DA-9633-AF8275B174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N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8DB3FF-7260-40F1-9B11-66D007ADF2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BA52E9-9879-41B1-B3D0-77AFD6060852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4117398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336002"/>
            <a:ext cx="11029616" cy="3652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C2C4672-A417-499A-BFFD-5FAF50BE3A3E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42874" y="6532720"/>
            <a:ext cx="863890" cy="230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451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</p:sldLayoutIdLst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800" b="0" kern="1200" cap="all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lnSpc>
          <a:spcPct val="110000"/>
        </a:lnSpc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7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hyperlink" Target="mailto:simon@eagleavia.com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ata.org/en/iata-repository/pressroom/presentations/outlook/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oeing.com/commercial/market/commercial-market-outlook/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ata.org/en/pressroom/pr/2020-04-16-01/" TargetMode="External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navoiairport.com/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iata.org/en/pressroom/pr/2020-04-16-01/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iata.org/contentassets/4bc75639b37641ba88f2e81e5516a020/e-awb-monthly-report-r17.pdf" TargetMode="External"/><Relationship Id="rId5" Type="http://schemas.microsoft.com/office/2007/relationships/hdphoto" Target="../media/hdphoto1.wdp"/><Relationship Id="rId4" Type="http://schemas.openxmlformats.org/officeDocument/2006/relationships/image" Target="../media/image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db.org/publications/aviation-role-carec-study" TargetMode="External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icao.int/Security/aircargo/Pages/Evolving-from-Paper-based-to-Electronic-Solutions.aspx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db.org/publications/aviation-role-carec-study" TargetMode="External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icao.int/Security/aircargo/Pages/Evolving-from-Paper-based-to-Electronic-Solutions.aspx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daco.sa/cargo-village/" TargetMode="Externa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.png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chart" Target="../charts/chart2.xml"/><Relationship Id="rId7" Type="http://schemas.openxmlformats.org/officeDocument/2006/relationships/image" Target="../media/image10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iata.org/en/publications/newsletters/tracker/cargo-tracker-february-2021/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oeing.com/commercial/market/cargo-forecast/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ata.org/en/iata-repository/publications/economic-reports/air-freight-monthly-analysis---october-2020/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png"/><Relationship Id="rId4" Type="http://schemas.openxmlformats.org/officeDocument/2006/relationships/hyperlink" Target="https://www.cargonewswire.com/silk-way-west-airlines-stands-ready-for-a-leading-role-in-the-global-distribution-of-medical-supplies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rewry.co.uk/logistics-executive-briefing/logistics-executive-briefing-articles/air-freight-rates-will-not-normalise-despite-recent-retreat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png"/><Relationship Id="rId4" Type="http://schemas.openxmlformats.org/officeDocument/2006/relationships/hyperlink" Target="https://www.iata.org/en/programs/cargo/cargo-operations/e-commerce-logistics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flightglobal.com/flight-international/passenger-to-cargo-conversions-boom-but-can-it-last/142047.articl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77F2BB43-1E8B-40A7-9733-9AEE76BFE2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F2499BD-C67D-4CD4-9747-4DCC7EF1FC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80D02CAC-A533-4E24-84A6-B3171E16A2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4DBAF48-B17B-4AA7-9E99-4EC0C99058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3085764"/>
            <a:ext cx="11298932" cy="3338149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 useBgFill="1">
        <p:nvSpPr>
          <p:cNvPr id="61" name="Rectangle 60">
            <a:extLst>
              <a:ext uri="{FF2B5EF4-FFF2-40B4-BE49-F238E27FC236}">
                <a16:creationId xmlns:a16="http://schemas.microsoft.com/office/drawing/2014/main" id="{16AB1A53-4F6D-4720-8074-008E0697DC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A0AB6E-F90A-4F61-948D-7ECF81D28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64" y="4682113"/>
            <a:ext cx="10993549" cy="2170738"/>
          </a:xfrm>
        </p:spPr>
        <p:txBody>
          <a:bodyPr vert="horz" lIns="91440" tIns="45720" rIns="91440" bIns="45720" rtlCol="0" anchor="b">
            <a:noAutofit/>
          </a:bodyPr>
          <a:lstStyle/>
          <a:p>
            <a:pPr>
              <a:lnSpc>
                <a:spcPct val="90000"/>
              </a:lnSpc>
            </a:pPr>
            <a:r>
              <a:rPr lang="en-US" sz="1800" dirty="0">
                <a:solidFill>
                  <a:schemeClr val="accent2"/>
                </a:solidFill>
              </a:rPr>
              <a:t>air Cargo</a:t>
            </a:r>
            <a:br>
              <a:rPr lang="en-US" sz="1800" dirty="0">
                <a:solidFill>
                  <a:schemeClr val="accent2"/>
                </a:solidFill>
              </a:rPr>
            </a:br>
            <a:br>
              <a:rPr lang="en-US" sz="1800" dirty="0">
                <a:solidFill>
                  <a:schemeClr val="accent2"/>
                </a:solidFill>
              </a:rPr>
            </a:br>
            <a:r>
              <a:rPr lang="en-US" sz="1800" dirty="0">
                <a:solidFill>
                  <a:schemeClr val="accent2"/>
                </a:solidFill>
              </a:rPr>
              <a:t>CAREC Aviation and Tourism Webinar, 10 March 2021</a:t>
            </a:r>
            <a:br>
              <a:rPr lang="en-US" sz="1000" dirty="0"/>
            </a:br>
            <a:br>
              <a:rPr lang="en-US" sz="1100" dirty="0"/>
            </a:br>
            <a:r>
              <a:rPr lang="en-US" sz="1100" dirty="0"/>
              <a:t>Simon Russell</a:t>
            </a:r>
            <a:br>
              <a:rPr lang="en-US" sz="1100" dirty="0"/>
            </a:br>
            <a:r>
              <a:rPr lang="en-US" sz="1100" dirty="0"/>
              <a:t>CEO, </a:t>
            </a:r>
            <a:r>
              <a:rPr lang="en-US" sz="1100" dirty="0" err="1"/>
              <a:t>eagleaviation</a:t>
            </a:r>
            <a:r>
              <a:rPr lang="en-US" sz="1100" dirty="0"/>
              <a:t> consulting limited</a:t>
            </a:r>
            <a:br>
              <a:rPr lang="en-US" sz="1100" dirty="0"/>
            </a:br>
            <a:br>
              <a:rPr lang="en-US" sz="1100" dirty="0"/>
            </a:br>
            <a:r>
              <a:rPr lang="en-US" sz="900" dirty="0">
                <a:solidFill>
                  <a:schemeClr val="accent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imon@eagleavia.com</a:t>
            </a:r>
            <a:br>
              <a:rPr lang="en-US" sz="900" dirty="0">
                <a:solidFill>
                  <a:schemeClr val="accent2"/>
                </a:solidFill>
              </a:rPr>
            </a:br>
            <a:r>
              <a:rPr lang="en-US" sz="900" dirty="0">
                <a:solidFill>
                  <a:schemeClr val="accent2"/>
                </a:solidFill>
              </a:rPr>
              <a:t>+64 21 657 050</a:t>
            </a:r>
            <a:endParaRPr lang="en-US" sz="1000" dirty="0">
              <a:solidFill>
                <a:schemeClr val="accent2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AFFD950-736A-44D1-9AD1-E42CDC26B1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E24C75E-B501-445E-B2BC-A2E82C10CC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B9DD6E99-90F6-4BD6-85AF-EAB5D59F5F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25" name="Picture 4" descr="Abstract network of node and mesh">
            <a:extLst>
              <a:ext uri="{FF2B5EF4-FFF2-40B4-BE49-F238E27FC236}">
                <a16:creationId xmlns:a16="http://schemas.microsoft.com/office/drawing/2014/main" id="{7233EA03-1F69-45FF-A841-0A65ADA6D7A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"/>
          <a:stretch/>
        </p:blipFill>
        <p:spPr>
          <a:xfrm>
            <a:off x="446530" y="641101"/>
            <a:ext cx="7497732" cy="35158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A73C843-64E7-4DA6-BA5D-DFE40589194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 b="-1"/>
          <a:stretch/>
        </p:blipFill>
        <p:spPr>
          <a:xfrm>
            <a:off x="8036241" y="641101"/>
            <a:ext cx="3709227" cy="35158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A37BB45-4883-4D14-BC18-536CCD104D4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30880" y="6192387"/>
            <a:ext cx="599949" cy="473644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D8A52FA9-FBA5-4BCC-998A-EF5E3C9B3500}"/>
              </a:ext>
            </a:extLst>
          </p:cNvPr>
          <p:cNvSpPr txBox="1">
            <a:spLocks noChangeArrowheads="1"/>
          </p:cNvSpPr>
          <p:nvPr/>
        </p:nvSpPr>
        <p:spPr>
          <a:xfrm>
            <a:off x="975295" y="3982412"/>
            <a:ext cx="10993438" cy="2170112"/>
          </a:xfrm>
          <a:prstGeom prst="rect">
            <a:avLst/>
          </a:prstGeom>
          <a:ln/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r">
              <a:lnSpc>
                <a:spcPct val="90000"/>
              </a:lnSpc>
            </a:pPr>
            <a:r>
              <a:rPr lang="ru-RU" altLang="ru-RU" sz="1800" dirty="0">
                <a:latin typeface="Franklin Gothic Demi" panose="020B0703020102020204" pitchFamily="34" charset="0"/>
              </a:rPr>
              <a:t>Воздушные грузоперевозки</a:t>
            </a:r>
            <a:br>
              <a:rPr lang="ru-RU" altLang="ru-RU" sz="1800" dirty="0">
                <a:latin typeface="Franklin Gothic Demi" panose="020B0703020102020204" pitchFamily="34" charset="0"/>
              </a:rPr>
            </a:br>
            <a:br>
              <a:rPr lang="ru-RU" altLang="ru-RU" sz="1800" dirty="0">
                <a:latin typeface="Franklin Gothic Demi" panose="020B0703020102020204" pitchFamily="34" charset="0"/>
              </a:rPr>
            </a:br>
            <a:r>
              <a:rPr lang="ru-RU" altLang="ru-RU" sz="1800" dirty="0">
                <a:latin typeface="Franklin Gothic Demi" panose="020B0703020102020204" pitchFamily="34" charset="0"/>
              </a:rPr>
              <a:t>Вебинар ЦАРЭС по авиации и туризму, 10 марта 2021</a:t>
            </a:r>
            <a:r>
              <a:rPr lang="ru-RU" altLang="ru-RU" sz="1000" dirty="0">
                <a:latin typeface="Franklin Gothic Demi" panose="020B0703020102020204" pitchFamily="34" charset="0"/>
              </a:rPr>
              <a:t> г.</a:t>
            </a:r>
            <a:br>
              <a:rPr lang="ru-RU" altLang="ru-RU" sz="1000" dirty="0">
                <a:latin typeface="Franklin Gothic Demi" panose="020B0703020102020204" pitchFamily="34" charset="0"/>
              </a:rPr>
            </a:br>
            <a:br>
              <a:rPr lang="ru-RU" altLang="ru-RU" sz="1100" dirty="0">
                <a:latin typeface="Franklin Gothic Demi" panose="020B0703020102020204" pitchFamily="34" charset="0"/>
              </a:rPr>
            </a:br>
            <a:r>
              <a:rPr lang="ru-RU" altLang="ru-RU" sz="1100" dirty="0">
                <a:latin typeface="Franklin Gothic Demi" panose="020B0703020102020204" pitchFamily="34" charset="0"/>
              </a:rPr>
              <a:t>Саймон Рассел</a:t>
            </a:r>
            <a:br>
              <a:rPr lang="ru-RU" altLang="ru-RU" sz="1100" dirty="0">
                <a:latin typeface="Franklin Gothic Demi" panose="020B0703020102020204" pitchFamily="34" charset="0"/>
              </a:rPr>
            </a:br>
            <a:r>
              <a:rPr lang="ru-RU" altLang="ru-RU" sz="1100" dirty="0">
                <a:latin typeface="Franklin Gothic Demi" panose="020B0703020102020204" pitchFamily="34" charset="0"/>
              </a:rPr>
              <a:t>CEO, </a:t>
            </a:r>
            <a:r>
              <a:rPr lang="ru-RU" altLang="ru-RU" sz="1100" dirty="0" err="1">
                <a:latin typeface="Franklin Gothic Demi" panose="020B0703020102020204" pitchFamily="34" charset="0"/>
              </a:rPr>
              <a:t>eagleaviation</a:t>
            </a:r>
            <a:r>
              <a:rPr lang="ru-RU" altLang="ru-RU" sz="1100" dirty="0">
                <a:latin typeface="Franklin Gothic Demi" panose="020B0703020102020204" pitchFamily="34" charset="0"/>
              </a:rPr>
              <a:t> </a:t>
            </a:r>
            <a:r>
              <a:rPr lang="ru-RU" altLang="ru-RU" sz="1100" dirty="0" err="1">
                <a:latin typeface="Franklin Gothic Demi" panose="020B0703020102020204" pitchFamily="34" charset="0"/>
              </a:rPr>
              <a:t>consulting</a:t>
            </a:r>
            <a:r>
              <a:rPr lang="ru-RU" altLang="ru-RU" sz="1100" dirty="0">
                <a:latin typeface="Franklin Gothic Demi" panose="020B0703020102020204" pitchFamily="34" charset="0"/>
              </a:rPr>
              <a:t> </a:t>
            </a:r>
            <a:r>
              <a:rPr lang="ru-RU" altLang="ru-RU" sz="1100" dirty="0" err="1">
                <a:latin typeface="Franklin Gothic Demi" panose="020B0703020102020204" pitchFamily="34" charset="0"/>
              </a:rPr>
              <a:t>limited</a:t>
            </a:r>
            <a:br>
              <a:rPr lang="ru-RU" altLang="ru-RU" sz="1100" dirty="0">
                <a:latin typeface="Franklin Gothic Demi" panose="020B0703020102020204" pitchFamily="34" charset="0"/>
              </a:rPr>
            </a:br>
            <a:br>
              <a:rPr lang="ru-RU" altLang="ru-RU" sz="1100" dirty="0">
                <a:latin typeface="Franklin Gothic Demi" panose="020B0703020102020204" pitchFamily="34" charset="0"/>
              </a:rPr>
            </a:br>
            <a:r>
              <a:rPr lang="ru-RU" altLang="ru-RU" sz="800" dirty="0">
                <a:solidFill>
                  <a:schemeClr val="accent2"/>
                </a:solidFill>
                <a:latin typeface="Franklin Gothic Demi" panose="020B0703020102020204" pitchFamily="34" charset="0"/>
                <a:hlinkClick r:id="rId2"/>
              </a:rPr>
              <a:t>simon@eagleavia.com</a:t>
            </a:r>
            <a:br>
              <a:rPr lang="ru-RU" altLang="ru-RU" sz="800" dirty="0">
                <a:solidFill>
                  <a:schemeClr val="accent2"/>
                </a:solidFill>
                <a:latin typeface="Franklin Gothic Demi" panose="020B0703020102020204" pitchFamily="34" charset="0"/>
                <a:hlinkClick r:id="rId2"/>
              </a:rPr>
            </a:br>
            <a:r>
              <a:rPr lang="ru-RU" altLang="ru-RU" sz="800" dirty="0">
                <a:solidFill>
                  <a:schemeClr val="accent2"/>
                </a:solidFill>
                <a:latin typeface="Franklin Gothic Demi" panose="020B0703020102020204" pitchFamily="34" charset="0"/>
              </a:rPr>
              <a:t>+64 21 657 050</a:t>
            </a:r>
          </a:p>
        </p:txBody>
      </p:sp>
    </p:spTree>
    <p:extLst>
      <p:ext uri="{BB962C8B-B14F-4D97-AF65-F5344CB8AC3E}">
        <p14:creationId xmlns:p14="http://schemas.microsoft.com/office/powerpoint/2010/main" val="3141720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056951649" presetClass="entr" presetSubtype="11045792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4" grpId="0" animBg="1" autoUpdateAnimBg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CF33C03-CB72-44B9-B8AE-9C83FE528840}"/>
              </a:ext>
            </a:extLst>
          </p:cNvPr>
          <p:cNvSpPr/>
          <p:nvPr/>
        </p:nvSpPr>
        <p:spPr>
          <a:xfrm>
            <a:off x="1" y="1485431"/>
            <a:ext cx="12044590" cy="745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2000" b="1" dirty="0">
                <a:solidFill>
                  <a:schemeClr val="tx1"/>
                </a:solidFill>
              </a:rPr>
              <a:t>Восстановление глобальной экономики стимулирует грузовые авиаперевозки, но не авиаперелеты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0E41C2-80D7-4135-94A3-A57F072E5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365125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0070C0"/>
                </a:solidFill>
              </a:rPr>
              <a:t>How long will the cargo demand for freighters continue?</a:t>
            </a:r>
            <a:endParaRPr lang="en-NZ" dirty="0">
              <a:solidFill>
                <a:srgbClr val="0070C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C405B4-19B0-45D1-BBDA-601E0C5354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52E9-9879-41B1-B3D0-77AFD6060852}" type="slidenum">
              <a:rPr lang="en-NZ" smtClean="0"/>
              <a:t>10</a:t>
            </a:fld>
            <a:endParaRPr lang="en-NZ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C3B6A5-90A4-4902-B09A-CA75B5CD727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095" y="1743155"/>
            <a:ext cx="8618783" cy="435374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A8C21DF-35DA-4663-BE6D-3CA5D581B006}"/>
              </a:ext>
            </a:extLst>
          </p:cNvPr>
          <p:cNvSpPr txBox="1"/>
          <p:nvPr/>
        </p:nvSpPr>
        <p:spPr>
          <a:xfrm>
            <a:off x="3762829" y="5896842"/>
            <a:ext cx="53594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/>
              <a:t>Source: </a:t>
            </a:r>
            <a:r>
              <a:rPr lang="en-US" sz="7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iata.org/en/iata-repository/pressroom/presentations/outlook/</a:t>
            </a:r>
            <a:r>
              <a:rPr lang="en-US" sz="700" dirty="0"/>
              <a:t> </a:t>
            </a:r>
            <a:endParaRPr lang="en-NZ" sz="700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2B756119-938D-4FBB-8392-86301AAC1CFA}"/>
              </a:ext>
            </a:extLst>
          </p:cNvPr>
          <p:cNvSpPr txBox="1">
            <a:spLocks noChangeArrowheads="1"/>
          </p:cNvSpPr>
          <p:nvPr/>
        </p:nvSpPr>
        <p:spPr>
          <a:xfrm>
            <a:off x="581192" y="92836"/>
            <a:ext cx="11029950" cy="365125"/>
          </a:xfrm>
          <a:prstGeom prst="rect">
            <a:avLst/>
          </a:prstGeom>
          <a:ln/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sz="2400" dirty="0">
                <a:latin typeface="Franklin Gothic Demi" panose="020B0703020102020204" pitchFamily="34" charset="0"/>
              </a:rPr>
              <a:t>Как долго сохранится спрос на грузовые самолеты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40E59C-5E2C-4841-ADDE-70678E4658BD}"/>
              </a:ext>
            </a:extLst>
          </p:cNvPr>
          <p:cNvSpPr/>
          <p:nvPr/>
        </p:nvSpPr>
        <p:spPr>
          <a:xfrm>
            <a:off x="6226629" y="2442331"/>
            <a:ext cx="1905094" cy="365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200" dirty="0">
                <a:solidFill>
                  <a:schemeClr val="tx1"/>
                </a:solidFill>
              </a:rPr>
              <a:t>Глобальное промышленное производство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74AF55-3B9D-4615-A013-E943D6D002DD}"/>
              </a:ext>
            </a:extLst>
          </p:cNvPr>
          <p:cNvSpPr/>
          <p:nvPr/>
        </p:nvSpPr>
        <p:spPr>
          <a:xfrm>
            <a:off x="8783835" y="3608601"/>
            <a:ext cx="1905094" cy="365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200" dirty="0">
                <a:solidFill>
                  <a:schemeClr val="tx1"/>
                </a:solidFill>
              </a:rPr>
              <a:t>Глобальное расстояние грузоперевозок, км.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501B5EF-E864-475E-912D-104BCA6B3973}"/>
              </a:ext>
            </a:extLst>
          </p:cNvPr>
          <p:cNvSpPr/>
          <p:nvPr/>
        </p:nvSpPr>
        <p:spPr>
          <a:xfrm>
            <a:off x="9368967" y="4356312"/>
            <a:ext cx="1905094" cy="365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200" dirty="0">
                <a:solidFill>
                  <a:schemeClr val="tx1"/>
                </a:solidFill>
              </a:rPr>
              <a:t>Глобальный показатель пассажиро-километров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D53D5F-40B3-40E8-97FD-3EB11E00634A}"/>
              </a:ext>
            </a:extLst>
          </p:cNvPr>
          <p:cNvSpPr/>
          <p:nvPr/>
        </p:nvSpPr>
        <p:spPr>
          <a:xfrm>
            <a:off x="2930434" y="2058906"/>
            <a:ext cx="5090161" cy="2000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200" dirty="0">
                <a:solidFill>
                  <a:schemeClr val="tx1"/>
                </a:solidFill>
              </a:rPr>
              <a:t>Рост глобальной экономики, </a:t>
            </a:r>
            <a:r>
              <a:rPr lang="ru-RU" sz="1200" dirty="0" err="1">
                <a:solidFill>
                  <a:schemeClr val="tx1"/>
                </a:solidFill>
              </a:rPr>
              <a:t>грузо</a:t>
            </a:r>
            <a:r>
              <a:rPr lang="ru-RU" sz="1200" dirty="0">
                <a:solidFill>
                  <a:schemeClr val="tx1"/>
                </a:solidFill>
              </a:rPr>
              <a:t>-километров и пассажиро-километров</a:t>
            </a:r>
          </a:p>
        </p:txBody>
      </p:sp>
    </p:spTree>
    <p:extLst>
      <p:ext uri="{BB962C8B-B14F-4D97-AF65-F5344CB8AC3E}">
        <p14:creationId xmlns:p14="http://schemas.microsoft.com/office/powerpoint/2010/main" val="16975074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10">
            <a:extLst>
              <a:ext uri="{FF2B5EF4-FFF2-40B4-BE49-F238E27FC236}">
                <a16:creationId xmlns:a16="http://schemas.microsoft.com/office/drawing/2014/main" id="{3CED7894-4F62-4A6C-8DB5-DB5BE08E9C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099005-B8C9-4934-8CC3-A9AF010825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65" y="669174"/>
            <a:ext cx="3971619" cy="1160512"/>
          </a:xfrm>
        </p:spPr>
        <p:txBody>
          <a:bodyPr>
            <a:noAutofit/>
          </a:bodyPr>
          <a:lstStyle/>
          <a:p>
            <a:r>
              <a:rPr lang="en-US" sz="2400" dirty="0">
                <a:solidFill>
                  <a:srgbClr val="0070C0"/>
                </a:solidFill>
              </a:rPr>
              <a:t>Return of passenger widebody fleet impact on cargo capacity?</a:t>
            </a:r>
            <a:endParaRPr lang="en-NZ" sz="2400" dirty="0">
              <a:solidFill>
                <a:srgbClr val="0070C0"/>
              </a:solidFill>
            </a:endParaRPr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E536F3B4-50F6-4C52-8F76-4EB1214719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8620" y="457200"/>
            <a:ext cx="3511233" cy="9143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047DE0-587E-44F8-9883-8BB2535896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211" y="2010490"/>
            <a:ext cx="3297891" cy="4699000"/>
          </a:xfrm>
        </p:spPr>
        <p:txBody>
          <a:bodyPr>
            <a:normAutofit fontScale="92500" lnSpcReduction="2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b="1" dirty="0">
                <a:solidFill>
                  <a:srgbClr val="0070C0"/>
                </a:solidFill>
              </a:rPr>
              <a:t>What impact could extra freighter capacity have for CAREC region?</a:t>
            </a:r>
          </a:p>
          <a:p>
            <a:pPr lvl="1"/>
            <a:r>
              <a:rPr lang="en-US" dirty="0">
                <a:solidFill>
                  <a:srgbClr val="0070C0"/>
                </a:solidFill>
              </a:rPr>
              <a:t>None</a:t>
            </a:r>
          </a:p>
          <a:p>
            <a:pPr lvl="1"/>
            <a:r>
              <a:rPr lang="en-US" dirty="0">
                <a:solidFill>
                  <a:srgbClr val="0070C0"/>
                </a:solidFill>
              </a:rPr>
              <a:t>Some</a:t>
            </a:r>
          </a:p>
          <a:p>
            <a:pPr lvl="1"/>
            <a:r>
              <a:rPr lang="en-US" dirty="0">
                <a:solidFill>
                  <a:srgbClr val="0070C0"/>
                </a:solidFill>
              </a:rPr>
              <a:t>Significant</a:t>
            </a:r>
          </a:p>
          <a:p>
            <a:pPr marL="342900" indent="-342900">
              <a:buFont typeface="+mj-lt"/>
              <a:buAutoNum type="arabicPeriod"/>
            </a:pPr>
            <a:r>
              <a:rPr lang="en-US" b="1" dirty="0">
                <a:solidFill>
                  <a:srgbClr val="0070C0"/>
                </a:solidFill>
              </a:rPr>
              <a:t>Is air cargo beneficial for CAREC exports and imports growth?</a:t>
            </a:r>
          </a:p>
          <a:p>
            <a:pPr lvl="1"/>
            <a:r>
              <a:rPr lang="en-US" dirty="0">
                <a:solidFill>
                  <a:srgbClr val="0070C0"/>
                </a:solidFill>
              </a:rPr>
              <a:t>No</a:t>
            </a:r>
          </a:p>
          <a:p>
            <a:pPr lvl="1"/>
            <a:r>
              <a:rPr lang="en-US" dirty="0">
                <a:solidFill>
                  <a:srgbClr val="0070C0"/>
                </a:solidFill>
              </a:rPr>
              <a:t>Maybe</a:t>
            </a:r>
          </a:p>
          <a:p>
            <a:pPr lvl="1"/>
            <a:r>
              <a:rPr lang="en-US" dirty="0">
                <a:solidFill>
                  <a:srgbClr val="0070C0"/>
                </a:solidFill>
              </a:rPr>
              <a:t>Yes</a:t>
            </a:r>
          </a:p>
          <a:p>
            <a:pPr marL="342900" indent="-342900">
              <a:buFont typeface="+mj-lt"/>
              <a:buAutoNum type="arabicPeriod"/>
            </a:pPr>
            <a:r>
              <a:rPr lang="en-GB" b="1" dirty="0">
                <a:solidFill>
                  <a:srgbClr val="0070C0"/>
                </a:solidFill>
              </a:rPr>
              <a:t>Can Cooperation Between CAREC Transport Hubs Promote Economic Growth?</a:t>
            </a:r>
            <a:endParaRPr lang="en-US" b="1" dirty="0">
              <a:solidFill>
                <a:srgbClr val="0070C0"/>
              </a:solidFill>
            </a:endParaRPr>
          </a:p>
          <a:p>
            <a:pPr lvl="1"/>
            <a:r>
              <a:rPr lang="en-US" dirty="0">
                <a:solidFill>
                  <a:srgbClr val="0070C0"/>
                </a:solidFill>
              </a:rPr>
              <a:t>None</a:t>
            </a:r>
          </a:p>
          <a:p>
            <a:pPr lvl="1"/>
            <a:r>
              <a:rPr lang="en-US" dirty="0">
                <a:solidFill>
                  <a:srgbClr val="0070C0"/>
                </a:solidFill>
              </a:rPr>
              <a:t>Some</a:t>
            </a:r>
          </a:p>
          <a:p>
            <a:pPr lvl="1"/>
            <a:r>
              <a:rPr lang="en-US" dirty="0">
                <a:solidFill>
                  <a:srgbClr val="0070C0"/>
                </a:solidFill>
              </a:rPr>
              <a:t>A lot</a:t>
            </a:r>
          </a:p>
          <a:p>
            <a:endParaRPr lang="en-NZ" dirty="0"/>
          </a:p>
        </p:txBody>
      </p:sp>
      <p:pic>
        <p:nvPicPr>
          <p:cNvPr id="6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4688DA72-11C9-4D14-9BD3-AAB2A81FDA5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8220" y="3160206"/>
            <a:ext cx="5388444" cy="348901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1363AD-7477-4273-BDB8-1C6F34AC3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6423914"/>
            <a:ext cx="105251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3A98EE3D-8CD1-4C3F-BD1C-C98C9596463C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DD706B-162B-457C-B3AB-3DF9747BE8EF}"/>
              </a:ext>
            </a:extLst>
          </p:cNvPr>
          <p:cNvSpPr txBox="1"/>
          <p:nvPr/>
        </p:nvSpPr>
        <p:spPr>
          <a:xfrm>
            <a:off x="6657276" y="6588984"/>
            <a:ext cx="447377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rgbClr val="0070C0"/>
                </a:solidFill>
              </a:rPr>
              <a:t>Source: </a:t>
            </a:r>
            <a:r>
              <a:rPr lang="en-US" sz="700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oeing.com/commercial/market/commercial-market-outlook/</a:t>
            </a:r>
            <a:r>
              <a:rPr lang="en-US" sz="700" dirty="0">
                <a:solidFill>
                  <a:srgbClr val="0070C0"/>
                </a:solidFill>
              </a:rPr>
              <a:t>  </a:t>
            </a:r>
            <a:endParaRPr lang="en-NZ" sz="700" dirty="0">
              <a:solidFill>
                <a:srgbClr val="0070C0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D2F7D82-CDCB-4525-ADD1-51124B6BCD90}"/>
              </a:ext>
            </a:extLst>
          </p:cNvPr>
          <p:cNvSpPr/>
          <p:nvPr/>
        </p:nvSpPr>
        <p:spPr>
          <a:xfrm>
            <a:off x="11362266" y="3897555"/>
            <a:ext cx="829734" cy="804333"/>
          </a:xfrm>
          <a:prstGeom prst="ellipse">
            <a:avLst/>
          </a:prstGeom>
          <a:solidFill>
            <a:srgbClr val="FF0000">
              <a:alpha val="30196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</a:rPr>
              <a:t>?</a:t>
            </a:r>
            <a:endParaRPr lang="en-NZ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B3DA0E-78FF-4DF5-AA52-9DD63DC7E146}"/>
              </a:ext>
            </a:extLst>
          </p:cNvPr>
          <p:cNvSpPr txBox="1"/>
          <p:nvPr/>
        </p:nvSpPr>
        <p:spPr>
          <a:xfrm>
            <a:off x="518030" y="41701"/>
            <a:ext cx="169815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0070C0"/>
                </a:solidFill>
              </a:rPr>
              <a:t>QUESTIONS</a:t>
            </a:r>
          </a:p>
          <a:p>
            <a:endParaRPr lang="en-NZ" sz="24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3EFAFC6-B904-4562-95B4-9A31F9F8786D}"/>
              </a:ext>
            </a:extLst>
          </p:cNvPr>
          <p:cNvSpPr txBox="1">
            <a:spLocks noChangeArrowheads="1"/>
          </p:cNvSpPr>
          <p:nvPr/>
        </p:nvSpPr>
        <p:spPr>
          <a:xfrm>
            <a:off x="3777648" y="623402"/>
            <a:ext cx="4636704" cy="1266552"/>
          </a:xfrm>
          <a:prstGeom prst="rect">
            <a:avLst/>
          </a:prstGeom>
          <a:ln/>
        </p:spPr>
        <p:txBody>
          <a:bodyPr vert="horz" lIns="91440" tIns="45720" rIns="91440" bIns="45720" rtlCol="0" anchor="b">
            <a:normAutofit lnSpcReduction="10000"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sz="2000" dirty="0">
                <a:latin typeface="Franklin Gothic Demi" panose="020B0703020102020204" pitchFamily="34" charset="0"/>
              </a:rPr>
              <a:t>Повлияет ли возвращение широкофюзеляжных пассажирских самолетов на грузоперевозки?</a:t>
            </a:r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C8579654-127F-4F4F-A30A-344F6DB077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5526" y="40848"/>
            <a:ext cx="1698625" cy="831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>
            <a:lvl1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9pPr>
          </a:lstStyle>
          <a:p>
            <a:r>
              <a:rPr lang="ru-RU" altLang="ru-RU" sz="2400" b="1" dirty="0"/>
              <a:t>ВОПРОСЫ</a:t>
            </a:r>
          </a:p>
          <a:p>
            <a:endParaRPr lang="en-NZ" altLang="en-US" sz="2400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18606A6-8858-4664-A7D6-2B60CA40A364}"/>
              </a:ext>
            </a:extLst>
          </p:cNvPr>
          <p:cNvSpPr txBox="1">
            <a:spLocks noChangeArrowheads="1"/>
          </p:cNvSpPr>
          <p:nvPr/>
        </p:nvSpPr>
        <p:spPr>
          <a:xfrm>
            <a:off x="3363620" y="1950222"/>
            <a:ext cx="3388427" cy="4699000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306000" indent="-306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3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90000"/>
              </a:lnSpc>
              <a:buFont typeface="Franklin Gothic Demi" panose="020B0703020102020204" pitchFamily="34" charset="0"/>
              <a:buAutoNum type="arabicPeriod"/>
            </a:pPr>
            <a:r>
              <a:rPr lang="ru-RU" altLang="ru-RU" sz="1600" b="1" dirty="0">
                <a:latin typeface="Franklin Gothic Book" panose="020B0503020102020204" pitchFamily="34" charset="0"/>
              </a:rPr>
              <a:t>Какое влияние могут иметь дополнительные грузовые мощности для региона ЦАРЭС?</a:t>
            </a:r>
          </a:p>
          <a:p>
            <a:pPr lvl="1">
              <a:lnSpc>
                <a:spcPct val="110000"/>
              </a:lnSpc>
              <a:spcAft>
                <a:spcPts val="0"/>
              </a:spcAft>
            </a:pPr>
            <a:r>
              <a:rPr lang="ru-RU" altLang="ru-RU" sz="1500" dirty="0">
                <a:latin typeface="Franklin Gothic Book" panose="020B0503020102020204" pitchFamily="34" charset="0"/>
              </a:rPr>
              <a:t>Никакое</a:t>
            </a:r>
          </a:p>
          <a:p>
            <a:pPr lvl="1">
              <a:lnSpc>
                <a:spcPct val="110000"/>
              </a:lnSpc>
              <a:spcAft>
                <a:spcPts val="0"/>
              </a:spcAft>
            </a:pPr>
            <a:r>
              <a:rPr lang="ru-RU" altLang="ru-RU" sz="1500" dirty="0">
                <a:latin typeface="Franklin Gothic Book" panose="020B0503020102020204" pitchFamily="34" charset="0"/>
              </a:rPr>
              <a:t>Незначительное</a:t>
            </a:r>
          </a:p>
          <a:p>
            <a:pPr lvl="1">
              <a:lnSpc>
                <a:spcPct val="110000"/>
              </a:lnSpc>
              <a:spcAft>
                <a:spcPts val="0"/>
              </a:spcAft>
            </a:pPr>
            <a:r>
              <a:rPr lang="ru-RU" altLang="ru-RU" sz="1500" dirty="0">
                <a:latin typeface="Franklin Gothic Book" panose="020B0503020102020204" pitchFamily="34" charset="0"/>
              </a:rPr>
              <a:t>Значительное</a:t>
            </a:r>
          </a:p>
          <a:p>
            <a:pPr marL="342900" indent="-342900">
              <a:lnSpc>
                <a:spcPct val="90000"/>
              </a:lnSpc>
              <a:buFont typeface="Franklin Gothic Demi" panose="020B0703020102020204" pitchFamily="34" charset="0"/>
              <a:buAutoNum type="arabicPeriod"/>
            </a:pPr>
            <a:r>
              <a:rPr lang="ru-RU" altLang="ru-RU" sz="1600" b="1" dirty="0">
                <a:latin typeface="Franklin Gothic Book" panose="020B0503020102020204" pitchFamily="34" charset="0"/>
              </a:rPr>
              <a:t>Полезны ли грузовые авиаперевозки для роста экспорта и импорта в ЦАРЭС?</a:t>
            </a:r>
          </a:p>
          <a:p>
            <a:pPr lvl="1">
              <a:lnSpc>
                <a:spcPct val="110000"/>
              </a:lnSpc>
              <a:spcAft>
                <a:spcPts val="0"/>
              </a:spcAft>
            </a:pPr>
            <a:r>
              <a:rPr lang="ru-RU" altLang="ru-RU" sz="1500" dirty="0">
                <a:latin typeface="Franklin Gothic Book" panose="020B0503020102020204" pitchFamily="34" charset="0"/>
              </a:rPr>
              <a:t>Нет</a:t>
            </a:r>
          </a:p>
          <a:p>
            <a:pPr lvl="1">
              <a:lnSpc>
                <a:spcPct val="110000"/>
              </a:lnSpc>
              <a:spcAft>
                <a:spcPts val="0"/>
              </a:spcAft>
            </a:pPr>
            <a:r>
              <a:rPr lang="ru-RU" altLang="ru-RU" sz="1500" dirty="0">
                <a:latin typeface="Franklin Gothic Book" panose="020B0503020102020204" pitchFamily="34" charset="0"/>
              </a:rPr>
              <a:t>Может быть</a:t>
            </a:r>
          </a:p>
          <a:p>
            <a:pPr lvl="1">
              <a:lnSpc>
                <a:spcPct val="110000"/>
              </a:lnSpc>
              <a:spcAft>
                <a:spcPts val="0"/>
              </a:spcAft>
            </a:pPr>
            <a:r>
              <a:rPr lang="ru-RU" altLang="ru-RU" sz="1500" dirty="0">
                <a:latin typeface="Franklin Gothic Book" panose="020B0503020102020204" pitchFamily="34" charset="0"/>
              </a:rPr>
              <a:t>Да</a:t>
            </a:r>
          </a:p>
          <a:p>
            <a:pPr marL="342900" indent="-342900">
              <a:lnSpc>
                <a:spcPct val="90000"/>
              </a:lnSpc>
              <a:buFont typeface="Franklin Gothic Demi" panose="020B0703020102020204" pitchFamily="34" charset="0"/>
              <a:buAutoNum type="arabicPeriod"/>
            </a:pPr>
            <a:r>
              <a:rPr lang="ru-RU" altLang="ru-RU" sz="1600" b="1" dirty="0">
                <a:latin typeface="Franklin Gothic Book" panose="020B0503020102020204" pitchFamily="34" charset="0"/>
              </a:rPr>
              <a:t>Может ли сотрудничество между транспортными узлами ЦАРЭС способствовать экономическому росту?</a:t>
            </a:r>
          </a:p>
          <a:p>
            <a:pPr lvl="1">
              <a:lnSpc>
                <a:spcPct val="110000"/>
              </a:lnSpc>
              <a:spcAft>
                <a:spcPts val="0"/>
              </a:spcAft>
            </a:pPr>
            <a:r>
              <a:rPr lang="ru-RU" altLang="ru-RU" sz="1500" dirty="0">
                <a:latin typeface="Franklin Gothic Book" panose="020B0503020102020204" pitchFamily="34" charset="0"/>
              </a:rPr>
              <a:t>Нет</a:t>
            </a:r>
          </a:p>
          <a:p>
            <a:pPr lvl="1">
              <a:lnSpc>
                <a:spcPct val="110000"/>
              </a:lnSpc>
              <a:spcAft>
                <a:spcPts val="0"/>
              </a:spcAft>
            </a:pPr>
            <a:r>
              <a:rPr lang="ru-RU" altLang="ru-RU" sz="1500" dirty="0">
                <a:latin typeface="Franklin Gothic Book" panose="020B0503020102020204" pitchFamily="34" charset="0"/>
              </a:rPr>
              <a:t>В некоторой степени</a:t>
            </a:r>
          </a:p>
          <a:p>
            <a:pPr lvl="1">
              <a:lnSpc>
                <a:spcPct val="110000"/>
              </a:lnSpc>
              <a:spcAft>
                <a:spcPts val="0"/>
              </a:spcAft>
            </a:pPr>
            <a:r>
              <a:rPr lang="ru-RU" altLang="ru-RU" sz="1500" dirty="0">
                <a:latin typeface="Franklin Gothic Book" panose="020B0503020102020204" pitchFamily="34" charset="0"/>
              </a:rPr>
              <a:t>Да, в большой степени</a:t>
            </a:r>
          </a:p>
          <a:p>
            <a:pPr marL="342900" indent="-342900">
              <a:lnSpc>
                <a:spcPct val="90000"/>
              </a:lnSpc>
            </a:pPr>
            <a:endParaRPr lang="en-NZ" altLang="en-US" sz="1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F171BED-E33C-4A4E-873A-472C08EFEBEC}"/>
              </a:ext>
            </a:extLst>
          </p:cNvPr>
          <p:cNvSpPr/>
          <p:nvPr/>
        </p:nvSpPr>
        <p:spPr>
          <a:xfrm>
            <a:off x="6752047" y="3020389"/>
            <a:ext cx="5090161" cy="2000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400" b="1" dirty="0">
                <a:solidFill>
                  <a:schemeClr val="tx1"/>
                </a:solidFill>
              </a:rPr>
              <a:t>Авиация вновь и вновь доказывает свою жизнеспособность</a:t>
            </a:r>
          </a:p>
        </p:txBody>
      </p:sp>
    </p:spTree>
    <p:extLst>
      <p:ext uri="{BB962C8B-B14F-4D97-AF65-F5344CB8AC3E}">
        <p14:creationId xmlns:p14="http://schemas.microsoft.com/office/powerpoint/2010/main" val="31448340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10">
            <a:extLst>
              <a:ext uri="{FF2B5EF4-FFF2-40B4-BE49-F238E27FC236}">
                <a16:creationId xmlns:a16="http://schemas.microsoft.com/office/drawing/2014/main" id="{FAAAB002-E48E-4009-828A-511F7A8280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049DDB-744A-4419-9BF6-D36A9D0DE50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Rectangle 12">
            <a:extLst>
              <a:ext uri="{FF2B5EF4-FFF2-40B4-BE49-F238E27FC236}">
                <a16:creationId xmlns:a16="http://schemas.microsoft.com/office/drawing/2014/main" id="{97EF55D5-23F0-4398-B16B-AEF5778C30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38067" y="423123"/>
            <a:ext cx="4216219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FDF32581-CAA1-43C6-8532-DC56C8435C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38067" y="601200"/>
            <a:ext cx="4214869" cy="5757055"/>
          </a:xfrm>
          <a:prstGeom prst="rect">
            <a:avLst/>
          </a:prstGeom>
          <a:solidFill>
            <a:srgbClr val="465359">
              <a:alpha val="97000"/>
            </a:srgbClr>
          </a:solidFill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5EA1CE-19F1-470D-9D24-895101C543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540" y="766071"/>
            <a:ext cx="3730810" cy="1613062"/>
          </a:xfrm>
        </p:spPr>
        <p:txBody>
          <a:bodyPr anchor="ctr">
            <a:normAutofit/>
          </a:bodyPr>
          <a:lstStyle/>
          <a:p>
            <a:r>
              <a:rPr lang="en-US" sz="2600" dirty="0">
                <a:solidFill>
                  <a:schemeClr val="accent1"/>
                </a:solidFill>
              </a:rPr>
              <a:t>EFFICIENT SUPPLY CHAIN ENABLES EFFECTIVE AIR CARGO</a:t>
            </a:r>
            <a:endParaRPr lang="en-NZ" sz="2600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C8A193-ABA2-472B-BA9D-F6061E09F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34171" y="766071"/>
            <a:ext cx="544874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3A98EE3D-8CD1-4C3F-BD1C-C98C9596463C}" type="slidenum">
              <a:rPr lang="en-US">
                <a:solidFill>
                  <a:srgbClr val="4F749E"/>
                </a:solidFill>
              </a:rPr>
              <a:pPr>
                <a:spcAft>
                  <a:spcPts val="600"/>
                </a:spcAft>
              </a:pPr>
              <a:t>12</a:t>
            </a:fld>
            <a:endParaRPr lang="en-US">
              <a:solidFill>
                <a:srgbClr val="4F749E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0A1338-D6AC-4BA8-A9B4-ACE0A4B5EE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8530" y="2438399"/>
            <a:ext cx="3974405" cy="3505201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</a:rPr>
              <a:t>Governments have a crucial role to lead efficiency by:</a:t>
            </a:r>
          </a:p>
          <a:p>
            <a:r>
              <a:rPr lang="en-GB" dirty="0">
                <a:solidFill>
                  <a:schemeClr val="accent1"/>
                </a:solidFill>
              </a:rPr>
              <a:t>Paperless, e-freight systems can improve aviation logistics</a:t>
            </a:r>
          </a:p>
          <a:p>
            <a:r>
              <a:rPr lang="en-GB" dirty="0">
                <a:solidFill>
                  <a:schemeClr val="accent1"/>
                </a:solidFill>
              </a:rPr>
              <a:t>Exempt quarantine requirements for air cargo crews (fast turnaround of aircraft)</a:t>
            </a:r>
          </a:p>
          <a:p>
            <a:r>
              <a:rPr lang="en-GB" dirty="0">
                <a:solidFill>
                  <a:schemeClr val="accent1"/>
                </a:solidFill>
              </a:rPr>
              <a:t>Resourcing and facilities to speedily process inbound cargo and transit cargo</a:t>
            </a:r>
          </a:p>
          <a:p>
            <a:r>
              <a:rPr lang="en-GB" dirty="0">
                <a:solidFill>
                  <a:schemeClr val="accent1"/>
                </a:solidFill>
              </a:rPr>
              <a:t>Adopt agreed global standards (e.g. licenses, health certification)</a:t>
            </a:r>
          </a:p>
          <a:p>
            <a:endParaRPr lang="en-NZ" dirty="0">
              <a:solidFill>
                <a:srgbClr val="FFFFFF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F31AA4-96E9-422D-8605-BEA8475161E8}"/>
              </a:ext>
            </a:extLst>
          </p:cNvPr>
          <p:cNvSpPr txBox="1"/>
          <p:nvPr/>
        </p:nvSpPr>
        <p:spPr>
          <a:xfrm>
            <a:off x="1481645" y="6630982"/>
            <a:ext cx="683232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chemeClr val="tx2"/>
                </a:solidFill>
              </a:rPr>
              <a:t>Sources: </a:t>
            </a:r>
            <a:r>
              <a:rPr lang="en-GB" sz="1050" dirty="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ATA - More Coordinated Approach Required to Keep Air Cargo Moving</a:t>
            </a:r>
            <a:r>
              <a:rPr lang="en-GB" sz="1050" dirty="0">
                <a:solidFill>
                  <a:schemeClr val="tx2"/>
                </a:solidFill>
              </a:rPr>
              <a:t>, Eagle Aviation Consulting analysis</a:t>
            </a:r>
            <a:endParaRPr lang="en-NZ" sz="1050" dirty="0">
              <a:solidFill>
                <a:schemeClr val="tx2"/>
              </a:solidFill>
            </a:endParaRPr>
          </a:p>
        </p:txBody>
      </p:sp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1564F206-B720-484A-A71C-DE59363A08C5}"/>
              </a:ext>
            </a:extLst>
          </p:cNvPr>
          <p:cNvSpPr txBox="1">
            <a:spLocks/>
          </p:cNvSpPr>
          <p:nvPr/>
        </p:nvSpPr>
        <p:spPr>
          <a:xfrm>
            <a:off x="10558300" y="6423914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spcAft>
                <a:spcPts val="600"/>
              </a:spcAft>
            </a:pPr>
            <a:fld id="{3A98EE3D-8CD1-4C3F-BD1C-C98C9596463C}" type="slidenum">
              <a:rPr lang="en-US" smtClean="0">
                <a:solidFill>
                  <a:schemeClr val="tx1"/>
                </a:solidFill>
              </a:rPr>
              <a:pPr defTabSz="457200">
                <a:spcAft>
                  <a:spcPts val="600"/>
                </a:spcAft>
              </a:pPr>
              <a:t>12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4E167B7-A710-44E4-81F6-76DD31CBA7BA}"/>
              </a:ext>
            </a:extLst>
          </p:cNvPr>
          <p:cNvSpPr txBox="1">
            <a:spLocks noChangeArrowheads="1"/>
          </p:cNvSpPr>
          <p:nvPr/>
        </p:nvSpPr>
        <p:spPr>
          <a:xfrm>
            <a:off x="4946621" y="766233"/>
            <a:ext cx="3730625" cy="1612900"/>
          </a:xfrm>
          <a:prstGeom prst="rect">
            <a:avLst/>
          </a:prstGeom>
          <a:ln/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sz="2600" dirty="0">
                <a:solidFill>
                  <a:schemeClr val="bg1"/>
                </a:solidFill>
                <a:latin typeface="Franklin Gothic Demi" panose="020B0703020102020204" pitchFamily="34" charset="0"/>
              </a:rPr>
              <a:t>ЭКОНОМИЧЕСКИ ЭФФЕКТИВНЫЕ ЦЕПИ ПОСТАВОК ПОЗВОЛЯЮТ ЭФФЕКТИВНО ОСУЩЕСТВЛЯТЬ ГРУЗОВЫЕ АВИАПЕРЕВОЗКИ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AE77F1F-B7DD-4B2E-A2D7-7FCB7B44AA4C}"/>
              </a:ext>
            </a:extLst>
          </p:cNvPr>
          <p:cNvSpPr txBox="1">
            <a:spLocks noChangeArrowheads="1"/>
          </p:cNvSpPr>
          <p:nvPr/>
        </p:nvSpPr>
        <p:spPr>
          <a:xfrm>
            <a:off x="4893398" y="2594062"/>
            <a:ext cx="4334578" cy="4010022"/>
          </a:xfrm>
          <a:prstGeom prst="rect">
            <a:avLst/>
          </a:prstGeom>
          <a:solidFill>
            <a:schemeClr val="tx2">
              <a:lumMod val="75000"/>
            </a:schemeClr>
          </a:solidFill>
          <a:ln/>
        </p:spPr>
        <p:txBody>
          <a:bodyPr vert="horz" lIns="91440" tIns="45720" rIns="91440" bIns="45720" rtlCol="0" anchor="ctr">
            <a:normAutofit fontScale="85000" lnSpcReduction="20000"/>
          </a:bodyPr>
          <a:lstStyle>
            <a:lvl1pPr marL="306000" indent="-306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3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 2" panose="05020102010507070707" pitchFamily="18" charset="2"/>
              <a:buNone/>
            </a:pPr>
            <a:r>
              <a:rPr lang="ru-RU" altLang="ru-RU" sz="1600" b="1" dirty="0">
                <a:solidFill>
                  <a:schemeClr val="bg1"/>
                </a:solidFill>
                <a:latin typeface="Franklin Gothic Book" panose="020B0503020102020204" pitchFamily="34" charset="0"/>
              </a:rPr>
              <a:t>Правительства играют важную роль в повышении экономической эффективности:</a:t>
            </a:r>
          </a:p>
          <a:p>
            <a:r>
              <a:rPr lang="ru-RU" altLang="ru-RU" sz="1900" dirty="0">
                <a:solidFill>
                  <a:schemeClr val="bg1"/>
                </a:solidFill>
                <a:latin typeface="Franklin Gothic Book" panose="020B0503020102020204" pitchFamily="34" charset="0"/>
              </a:rPr>
              <a:t>Безбумажные системы электронного грузооборота могут улучшить авиационную логистику</a:t>
            </a:r>
          </a:p>
          <a:p>
            <a:r>
              <a:rPr lang="ru-RU" altLang="ru-RU" sz="1900" dirty="0">
                <a:solidFill>
                  <a:schemeClr val="bg1"/>
                </a:solidFill>
                <a:latin typeface="Franklin Gothic Book" panose="020B0503020102020204" pitchFamily="34" charset="0"/>
              </a:rPr>
              <a:t>Освобождение экипажей грузовых самолетов от карантинных требований (быстрый оборот воздушных судов)</a:t>
            </a:r>
          </a:p>
          <a:p>
            <a:r>
              <a:rPr lang="ru-RU" altLang="ru-RU" sz="1900" dirty="0">
                <a:solidFill>
                  <a:schemeClr val="bg1"/>
                </a:solidFill>
                <a:latin typeface="Franklin Gothic Book" panose="020B0503020102020204" pitchFamily="34" charset="0"/>
              </a:rPr>
              <a:t>Ресурсное обеспечение и объекты для быстрой обработки входящих и транзитных грузов</a:t>
            </a:r>
          </a:p>
          <a:p>
            <a:r>
              <a:rPr lang="ru-RU" altLang="ru-RU" sz="1900" dirty="0">
                <a:solidFill>
                  <a:schemeClr val="bg1"/>
                </a:solidFill>
                <a:latin typeface="Franklin Gothic Book" panose="020B0503020102020204" pitchFamily="34" charset="0"/>
              </a:rPr>
              <a:t>Принятие согласованных глобальных стандартов (например, лицензий, медицинской сертификации)</a:t>
            </a:r>
          </a:p>
          <a:p>
            <a:endParaRPr lang="en-NZ" altLang="en-US" sz="1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2871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00401440-1DC9-4C9E-A3BA-4DECEEB465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C623F0F-83FD-40AC-9E4C-1CECD9E979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234" y="660731"/>
            <a:ext cx="11301984" cy="3023279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36B822CC-7DA9-4417-AA94-64CEB676F0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7234" y="4219240"/>
            <a:ext cx="11301984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FA01E88-71CC-4FF3-9E81-51E0C32B45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7234" y="4359623"/>
            <a:ext cx="11303626" cy="2051143"/>
          </a:xfrm>
          <a:prstGeom prst="rect">
            <a:avLst/>
          </a:prstGeom>
          <a:solidFill>
            <a:srgbClr val="465359"/>
          </a:solidFill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6B3F9D-D7D7-41F7-A6C2-6B1BFB9978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140" y="4472218"/>
            <a:ext cx="3016102" cy="1731787"/>
          </a:xfrm>
        </p:spPr>
        <p:txBody>
          <a:bodyPr anchor="ctr">
            <a:normAutofit fontScale="90000"/>
          </a:bodyPr>
          <a:lstStyle/>
          <a:p>
            <a:r>
              <a:rPr lang="en-US" dirty="0">
                <a:solidFill>
                  <a:srgbClr val="00B0F0"/>
                </a:solidFill>
              </a:rPr>
              <a:t>Coordinated infrastructure maintains vital air cargo routes</a:t>
            </a:r>
            <a:endParaRPr lang="en-NZ" dirty="0">
              <a:solidFill>
                <a:srgbClr val="00B0F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B1920F-E757-42FB-AAD0-674492736E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95701" y="4528030"/>
            <a:ext cx="7816700" cy="1895883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00000"/>
              </a:lnSpc>
            </a:pPr>
            <a:r>
              <a:rPr lang="en-GB" sz="1800" dirty="0">
                <a:solidFill>
                  <a:srgbClr val="00B0F0"/>
                </a:solidFill>
              </a:rPr>
              <a:t>Maintaining operations at alternate airports for all-weather operations can minimise diversions or cancellations of freighter services</a:t>
            </a:r>
          </a:p>
          <a:p>
            <a:pPr>
              <a:lnSpc>
                <a:spcPct val="100000"/>
              </a:lnSpc>
            </a:pPr>
            <a:r>
              <a:rPr lang="en-GB" sz="1800" dirty="0">
                <a:solidFill>
                  <a:srgbClr val="00B0F0"/>
                </a:solidFill>
              </a:rPr>
              <a:t>With reduced passenger flights, some airports have closed and mission-critical alternate airports are not available at all times</a:t>
            </a:r>
          </a:p>
          <a:p>
            <a:pPr>
              <a:lnSpc>
                <a:spcPct val="100000"/>
              </a:lnSpc>
            </a:pPr>
            <a:r>
              <a:rPr lang="en-GB" sz="1800" dirty="0">
                <a:solidFill>
                  <a:srgbClr val="00B0F0"/>
                </a:solidFill>
              </a:rPr>
              <a:t> A coordinated effort across CAREC by governments could keep alternate airports operational to ensure services to the region</a:t>
            </a:r>
          </a:p>
          <a:p>
            <a:pPr>
              <a:lnSpc>
                <a:spcPct val="100000"/>
              </a:lnSpc>
            </a:pPr>
            <a:endParaRPr lang="en-NZ" sz="1800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0D4297-ECAA-4799-8A02-A044E14532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6423914"/>
            <a:ext cx="105251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3A98EE3D-8CD1-4C3F-BD1C-C98C9596463C}" type="slidenum">
              <a:rPr lang="en-US">
                <a:solidFill>
                  <a:schemeClr val="bg1">
                    <a:lumMod val="85000"/>
                    <a:lumOff val="15000"/>
                  </a:schemeClr>
                </a:solidFill>
              </a:rPr>
              <a:pPr>
                <a:spcAft>
                  <a:spcPts val="600"/>
                </a:spcAft>
              </a:pPr>
              <a:t>13</a:t>
            </a:fld>
            <a:endParaRPr lang="en-US">
              <a:solidFill>
                <a:schemeClr val="bg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991FCD-A078-4AD5-9532-96C45D41D059}"/>
              </a:ext>
            </a:extLst>
          </p:cNvPr>
          <p:cNvSpPr txBox="1"/>
          <p:nvPr/>
        </p:nvSpPr>
        <p:spPr>
          <a:xfrm>
            <a:off x="9314742" y="3407011"/>
            <a:ext cx="24300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65000"/>
                  </a:schemeClr>
                </a:solidFill>
              </a:rPr>
              <a:t>Source: </a:t>
            </a:r>
            <a:r>
              <a:rPr lang="en-US" sz="1200" dirty="0">
                <a:solidFill>
                  <a:schemeClr val="tx1">
                    <a:lumMod val="65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navoiairport.com/</a:t>
            </a:r>
            <a:r>
              <a:rPr lang="en-US" sz="1200" dirty="0">
                <a:solidFill>
                  <a:schemeClr val="tx1">
                    <a:lumMod val="65000"/>
                  </a:schemeClr>
                </a:solidFill>
              </a:rPr>
              <a:t> </a:t>
            </a:r>
            <a:endParaRPr lang="en-NZ" sz="1200" dirty="0">
              <a:solidFill>
                <a:schemeClr val="tx1">
                  <a:lumMod val="65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7D78913-88C6-418F-AAD5-167E8524687F}"/>
              </a:ext>
            </a:extLst>
          </p:cNvPr>
          <p:cNvSpPr txBox="1"/>
          <p:nvPr/>
        </p:nvSpPr>
        <p:spPr>
          <a:xfrm>
            <a:off x="447234" y="6456152"/>
            <a:ext cx="448231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Sources: </a:t>
            </a:r>
            <a:r>
              <a:rPr lang="en-GB" sz="700" dirty="0">
                <a:solidFill>
                  <a:schemeClr val="bg2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ATA - More Coordinated Approach Required to Keep Air Cargo Moving</a:t>
            </a:r>
            <a:r>
              <a:rPr lang="en-GB" sz="700" dirty="0">
                <a:solidFill>
                  <a:schemeClr val="bg2"/>
                </a:solidFill>
              </a:rPr>
              <a:t>, Eagle Aviation Consulting analysis</a:t>
            </a:r>
            <a:endParaRPr lang="en-NZ" sz="700" dirty="0">
              <a:solidFill>
                <a:schemeClr val="bg2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949AF9C-6035-4905-9AFB-0D4137232BDB}"/>
              </a:ext>
            </a:extLst>
          </p:cNvPr>
          <p:cNvSpPr txBox="1">
            <a:spLocks noChangeArrowheads="1"/>
          </p:cNvSpPr>
          <p:nvPr/>
        </p:nvSpPr>
        <p:spPr>
          <a:xfrm>
            <a:off x="441140" y="1675048"/>
            <a:ext cx="3265888" cy="2008961"/>
          </a:xfrm>
          <a:prstGeom prst="rect">
            <a:avLst/>
          </a:prstGeom>
          <a:ln/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sz="2500" dirty="0">
                <a:solidFill>
                  <a:srgbClr val="FFFFFF"/>
                </a:solidFill>
                <a:latin typeface="Franklin Gothic Demi" panose="020B0703020102020204" pitchFamily="34" charset="0"/>
              </a:rPr>
              <a:t>Координация инфраструктуры поддерживает важнейшие маршруты грузовых авиаперевозок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410EEB4-6FCC-4B44-8B63-7171AD2583B8}"/>
              </a:ext>
            </a:extLst>
          </p:cNvPr>
          <p:cNvSpPr txBox="1">
            <a:spLocks noChangeArrowheads="1"/>
          </p:cNvSpPr>
          <p:nvPr/>
        </p:nvSpPr>
        <p:spPr>
          <a:xfrm>
            <a:off x="3707029" y="1699894"/>
            <a:ext cx="8037738" cy="1984115"/>
          </a:xfrm>
          <a:prstGeom prst="rect">
            <a:avLst/>
          </a:prstGeom>
          <a:solidFill>
            <a:srgbClr val="A1ACB2">
              <a:alpha val="65098"/>
            </a:srgbClr>
          </a:solidFill>
          <a:ln/>
        </p:spPr>
        <p:txBody>
          <a:bodyPr vert="horz" lIns="91440" tIns="45720" rIns="91440" bIns="45720" rtlCol="0" anchor="ctr">
            <a:normAutofit fontScale="92500"/>
          </a:bodyPr>
          <a:lstStyle>
            <a:lvl1pPr marL="306000" indent="-306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3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ru-RU" altLang="ru-RU" sz="18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Поддержание деятельности на запасных аэропортах для всепогодных операций может минимизировать перенаправления или отмену грузовых рейсов</a:t>
            </a:r>
          </a:p>
          <a:p>
            <a:pPr>
              <a:lnSpc>
                <a:spcPct val="90000"/>
              </a:lnSpc>
            </a:pPr>
            <a:r>
              <a:rPr lang="ru-RU" altLang="ru-RU" sz="18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С учетом сокращения количества пассажирских рейсов, некоторые аэропорты закрылись, а важнейшие запасные аэродромы не всегда доступны</a:t>
            </a:r>
          </a:p>
          <a:p>
            <a:pPr>
              <a:lnSpc>
                <a:spcPct val="90000"/>
              </a:lnSpc>
            </a:pPr>
            <a:r>
              <a:rPr lang="ru-RU" altLang="ru-RU" sz="18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 Координированные усилия правительств ЦАРЭС могут обеспечить функционирование запасных аэродромов для обеспечения услуг в регионе</a:t>
            </a:r>
          </a:p>
          <a:p>
            <a:pPr>
              <a:lnSpc>
                <a:spcPct val="90000"/>
              </a:lnSpc>
            </a:pPr>
            <a:endParaRPr lang="en-NZ" altLang="en-US" sz="1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52308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00401440-1DC9-4C9E-A3BA-4DECEEB465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Content Placeholder 5" descr="A plane parked in a hangar&#10;&#10;Description automatically generated with low confidence">
            <a:extLst>
              <a:ext uri="{FF2B5EF4-FFF2-40B4-BE49-F238E27FC236}">
                <a16:creationId xmlns:a16="http://schemas.microsoft.com/office/drawing/2014/main" id="{5FDF7CAB-6CCA-4839-A25D-2517B4AFA31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1139" y="759532"/>
            <a:ext cx="5331481" cy="2998956"/>
          </a:xfrm>
          <a:prstGeom prst="rect">
            <a:avLst/>
          </a:prstGeom>
        </p:spPr>
      </p:pic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EE3F140-02CB-4BBC-ABC0-8BF046C9D1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096000" y="1436050"/>
            <a:ext cx="0" cy="1645920"/>
          </a:xfrm>
          <a:prstGeom prst="line">
            <a:avLst/>
          </a:prstGeom>
          <a:ln w="19050">
            <a:solidFill>
              <a:srgbClr val="4653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23B3C5D-E7CA-4695-8DDC-C436100FD96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5932" y="759532"/>
            <a:ext cx="5563281" cy="2878997"/>
          </a:xfrm>
          <a:prstGeom prst="rect">
            <a:avLst/>
          </a:prstGeom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36B822CC-7DA9-4417-AA94-64CEB676F0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7234" y="4219240"/>
            <a:ext cx="11301984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FA01E88-71CC-4FF3-9E81-51E0C32B45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7234" y="4359623"/>
            <a:ext cx="11303626" cy="2051143"/>
          </a:xfrm>
          <a:prstGeom prst="rect">
            <a:avLst/>
          </a:prstGeom>
          <a:solidFill>
            <a:srgbClr val="465359"/>
          </a:solidFill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60C61D-118D-48DF-B083-7FF2695EF9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954" y="4374755"/>
            <a:ext cx="3353432" cy="85451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000" b="0" kern="1200" cap="all" dirty="0">
                <a:solidFill>
                  <a:srgbClr val="00B0F0"/>
                </a:solidFill>
                <a:latin typeface="+mj-lt"/>
                <a:ea typeface="+mj-ea"/>
                <a:cs typeface="+mj-cs"/>
              </a:rPr>
              <a:t>E-commerce top 100 airpor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DACA99-42DD-426B-9ABC-02F6011E55CF}"/>
              </a:ext>
            </a:extLst>
          </p:cNvPr>
          <p:cNvSpPr txBox="1"/>
          <p:nvPr/>
        </p:nvSpPr>
        <p:spPr>
          <a:xfrm>
            <a:off x="3952106" y="4383415"/>
            <a:ext cx="7792660" cy="7336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/>
          <a:p>
            <a:pPr defTabSz="457200">
              <a:spcBef>
                <a:spcPct val="20000"/>
              </a:spcBef>
              <a:spcAft>
                <a:spcPts val="3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</a:pPr>
            <a:r>
              <a:rPr lang="en-US" sz="1600" dirty="0">
                <a:solidFill>
                  <a:srgbClr val="00B0F0"/>
                </a:solidFill>
              </a:rPr>
              <a:t>CAREC airports and cargo hubs </a:t>
            </a:r>
            <a:r>
              <a:rPr lang="en-US" sz="1600" u="sng" dirty="0">
                <a:solidFill>
                  <a:srgbClr val="00B0F0"/>
                </a:solidFill>
              </a:rPr>
              <a:t>not</a:t>
            </a:r>
            <a:r>
              <a:rPr lang="en-US" sz="1600" dirty="0">
                <a:solidFill>
                  <a:srgbClr val="00B0F0"/>
                </a:solidFill>
              </a:rPr>
              <a:t> represented in Top 100 e-Commerce airports worldwide</a:t>
            </a:r>
          </a:p>
          <a:p>
            <a:pPr defTabSz="457200">
              <a:spcBef>
                <a:spcPct val="20000"/>
              </a:spcBef>
              <a:spcAft>
                <a:spcPts val="3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</a:pPr>
            <a:r>
              <a:rPr lang="en-US" sz="1600" dirty="0">
                <a:solidFill>
                  <a:srgbClr val="00B0F0"/>
                </a:solidFill>
              </a:rPr>
              <a:t>Opportunity to promote </a:t>
            </a:r>
            <a:r>
              <a:rPr lang="en-US" sz="1600" dirty="0" err="1">
                <a:solidFill>
                  <a:srgbClr val="00B0F0"/>
                </a:solidFill>
              </a:rPr>
              <a:t>transhipment</a:t>
            </a:r>
            <a:r>
              <a:rPr lang="en-US" sz="1600" dirty="0">
                <a:solidFill>
                  <a:srgbClr val="00B0F0"/>
                </a:solidFill>
              </a:rPr>
              <a:t> via CAREC and export/import of goods by ai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13C451-2F78-478D-BB2F-3E4E18808E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6423914"/>
            <a:ext cx="105251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200">
              <a:spcAft>
                <a:spcPts val="600"/>
              </a:spcAft>
            </a:pPr>
            <a:fld id="{3A98EE3D-8CD1-4C3F-BD1C-C98C9596463C}" type="slidenum">
              <a:rPr lang="en-US"/>
              <a:pPr defTabSz="457200">
                <a:spcAft>
                  <a:spcPts val="600"/>
                </a:spcAft>
              </a:pPr>
              <a:t>14</a:t>
            </a:fld>
            <a:endParaRPr lang="en-US"/>
          </a:p>
        </p:txBody>
      </p:sp>
      <p:pic>
        <p:nvPicPr>
          <p:cNvPr id="14" name="Picture 1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393C891A-BAB8-4209-901E-3508ADAA48B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342" y="6456342"/>
            <a:ext cx="1114150" cy="29739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3FC63B0-2A88-43EE-AE5B-C38002B5C42A}"/>
              </a:ext>
            </a:extLst>
          </p:cNvPr>
          <p:cNvSpPr txBox="1"/>
          <p:nvPr/>
        </p:nvSpPr>
        <p:spPr>
          <a:xfrm>
            <a:off x="3106879" y="3597390"/>
            <a:ext cx="10759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Image source: </a:t>
            </a:r>
            <a:r>
              <a:rPr lang="en-US" sz="700" b="0" i="0" dirty="0">
                <a:solidFill>
                  <a:schemeClr val="tx2">
                    <a:lumMod val="20000"/>
                    <a:lumOff val="80000"/>
                  </a:schemeClr>
                </a:solidFill>
                <a:effectLst/>
              </a:rPr>
              <a:t>GAMECO</a:t>
            </a:r>
            <a:endParaRPr lang="en-US" sz="700" dirty="0">
              <a:solidFill>
                <a:schemeClr val="tx2">
                  <a:lumMod val="20000"/>
                  <a:lumOff val="80000"/>
                </a:schemeClr>
              </a:solidFill>
            </a:endParaRPr>
          </a:p>
          <a:p>
            <a:endParaRPr lang="en-NZ" sz="700" dirty="0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545C46F-31B9-4990-9E4F-A09C22CD816C}"/>
              </a:ext>
            </a:extLst>
          </p:cNvPr>
          <p:cNvCxnSpPr/>
          <p:nvPr/>
        </p:nvCxnSpPr>
        <p:spPr>
          <a:xfrm flipH="1" flipV="1">
            <a:off x="8158970" y="3709722"/>
            <a:ext cx="1684866" cy="1074722"/>
          </a:xfrm>
          <a:prstGeom prst="straightConnector1">
            <a:avLst/>
          </a:prstGeom>
          <a:ln w="38100">
            <a:solidFill>
              <a:srgbClr val="C00000"/>
            </a:solidFill>
            <a:tailEnd type="triangle"/>
          </a:ln>
          <a:effectLst>
            <a:outerShdw blurRad="38100" dist="50800" dir="2700000" algn="tl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E42A3C1-7572-4F3F-B352-4D74CA56316B}"/>
              </a:ext>
            </a:extLst>
          </p:cNvPr>
          <p:cNvSpPr/>
          <p:nvPr/>
        </p:nvSpPr>
        <p:spPr>
          <a:xfrm rot="19626177">
            <a:off x="8496055" y="2354319"/>
            <a:ext cx="2695561" cy="106295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600"/>
              </a:lnSpc>
            </a:pPr>
            <a:r>
              <a:rPr lang="en-US" sz="1600" b="1" dirty="0"/>
              <a:t>TOP 100 e-commerce Airports</a:t>
            </a:r>
          </a:p>
          <a:p>
            <a:pPr algn="ctr">
              <a:lnSpc>
                <a:spcPts val="1600"/>
              </a:lnSpc>
            </a:pPr>
            <a:r>
              <a:rPr lang="az-Cyrl-AZ" sz="1600" b="1" dirty="0">
                <a:solidFill>
                  <a:schemeClr val="tx1"/>
                </a:solidFill>
              </a:rPr>
              <a:t>ТОП-100 аэропортов электронной коммерции</a:t>
            </a:r>
            <a:endParaRPr lang="en-NZ" sz="1600" b="1" dirty="0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C91BF14-5150-4AEC-AAD7-7768E22CB08D}"/>
              </a:ext>
            </a:extLst>
          </p:cNvPr>
          <p:cNvSpPr txBox="1"/>
          <p:nvPr/>
        </p:nvSpPr>
        <p:spPr>
          <a:xfrm>
            <a:off x="6640521" y="1495252"/>
            <a:ext cx="39909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800" dirty="0">
                <a:solidFill>
                  <a:schemeClr val="tx2">
                    <a:lumMod val="20000"/>
                    <a:lumOff val="8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iata.org/contentassets/4bc75639b37641ba88f2e81e5516a020/e-awb-monthly-report-r17.pdf</a:t>
            </a:r>
            <a:r>
              <a:rPr lang="en-NZ" sz="8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DB9C952-FBA5-49E7-8EB2-7BF5E0CFD4A6}"/>
              </a:ext>
            </a:extLst>
          </p:cNvPr>
          <p:cNvSpPr txBox="1">
            <a:spLocks noChangeArrowheads="1"/>
          </p:cNvSpPr>
          <p:nvPr/>
        </p:nvSpPr>
        <p:spPr>
          <a:xfrm>
            <a:off x="532740" y="5358050"/>
            <a:ext cx="3352800" cy="839033"/>
          </a:xfrm>
          <a:prstGeom prst="rect">
            <a:avLst/>
          </a:prstGeom>
          <a:ln/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sz="2000" dirty="0">
                <a:solidFill>
                  <a:srgbClr val="FFFFFF"/>
                </a:solidFill>
                <a:latin typeface="Franklin Gothic Demi" panose="020B0703020102020204" pitchFamily="34" charset="0"/>
              </a:rPr>
              <a:t>Топ-100 аэропортов для электронной торговли</a:t>
            </a:r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F8B9FB2C-BCDD-4B4B-8B4B-0FF8B6743B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1046" y="5367584"/>
            <a:ext cx="7688214" cy="839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1pPr>
            <a:lvl2pPr defTabSz="457200"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2pPr>
            <a:lvl3pPr defTabSz="457200"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3pPr>
            <a:lvl4pPr defTabSz="457200"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4pPr>
            <a:lvl5pPr defTabSz="457200"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9pPr>
          </a:lstStyle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</a:pPr>
            <a:r>
              <a:rPr lang="ru-RU" altLang="ru-RU" sz="1600" dirty="0">
                <a:solidFill>
                  <a:srgbClr val="FFFFFF"/>
                </a:solidFill>
              </a:rPr>
              <a:t>Аэропорты и грузовые </a:t>
            </a:r>
            <a:r>
              <a:rPr lang="ru-RU" altLang="ru-RU" sz="1600" dirty="0" err="1">
                <a:solidFill>
                  <a:srgbClr val="FFFFFF"/>
                </a:solidFill>
              </a:rPr>
              <a:t>хабы</a:t>
            </a:r>
            <a:r>
              <a:rPr lang="ru-RU" altLang="ru-RU" sz="1600" dirty="0">
                <a:solidFill>
                  <a:srgbClr val="FFFFFF"/>
                </a:solidFill>
              </a:rPr>
              <a:t> ЦАРЭС не представлены в Топ-100 коммерческих аэропортов мира</a:t>
            </a: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</a:pPr>
            <a:r>
              <a:rPr lang="ru-RU" altLang="ru-RU" sz="1600" dirty="0">
                <a:solidFill>
                  <a:srgbClr val="FFFFFF"/>
                </a:solidFill>
              </a:rPr>
              <a:t>Возможность продвигать перевалку через ЦАРЭС и импорт/экспорт товаров воздушным транспортом</a:t>
            </a:r>
          </a:p>
        </p:txBody>
      </p:sp>
    </p:spTree>
    <p:extLst>
      <p:ext uri="{BB962C8B-B14F-4D97-AF65-F5344CB8AC3E}">
        <p14:creationId xmlns:p14="http://schemas.microsoft.com/office/powerpoint/2010/main" val="25695455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FAAAB002-E48E-4009-828A-511F7A8280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4A7A35B-7E7F-4E6F-9A89-754408AD30A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97EF55D5-23F0-4398-B16B-AEF5778C30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38067" y="423123"/>
            <a:ext cx="4216219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DF32581-CAA1-43C6-8532-DC56C8435C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38067" y="601200"/>
            <a:ext cx="4214869" cy="5757055"/>
          </a:xfrm>
          <a:prstGeom prst="rect">
            <a:avLst/>
          </a:prstGeom>
          <a:solidFill>
            <a:srgbClr val="465359">
              <a:alpha val="97000"/>
            </a:srgbClr>
          </a:solidFill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2723EB-0B12-4309-B815-CAEEF8F7B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531" y="601200"/>
            <a:ext cx="3730810" cy="609291"/>
          </a:xfrm>
        </p:spPr>
        <p:txBody>
          <a:bodyPr anchor="ctr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2000" dirty="0">
                <a:solidFill>
                  <a:schemeClr val="accent1"/>
                </a:solidFill>
              </a:rPr>
              <a:t>Liberalization of market access for air cargo</a:t>
            </a:r>
            <a:endParaRPr lang="en-NZ" sz="2000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58B3F1-A6E7-4288-9625-F2CB0998C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4227" y="6385286"/>
            <a:ext cx="544874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3A98EE3D-8CD1-4C3F-BD1C-C98C9596463C}" type="slidenum">
              <a:rPr lang="en-US" sz="1050" b="1">
                <a:solidFill>
                  <a:schemeClr val="tx2"/>
                </a:solidFill>
              </a:rPr>
              <a:pPr>
                <a:spcAft>
                  <a:spcPts val="600"/>
                </a:spcAft>
              </a:pPr>
              <a:t>15</a:t>
            </a:fld>
            <a:endParaRPr lang="en-US" sz="1050" b="1" dirty="0">
              <a:solidFill>
                <a:schemeClr val="tx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4A9E34-809C-4D83-80F3-ECE3AC9C6C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3012" y="1141835"/>
            <a:ext cx="4139924" cy="2198566"/>
          </a:xfrm>
        </p:spPr>
        <p:txBody>
          <a:bodyPr>
            <a:normAutofit fontScale="92500"/>
          </a:bodyPr>
          <a:lstStyle/>
          <a:p>
            <a:pPr>
              <a:lnSpc>
                <a:spcPct val="100000"/>
              </a:lnSpc>
              <a:spcAft>
                <a:spcPts val="300"/>
              </a:spcAft>
            </a:pPr>
            <a:r>
              <a:rPr lang="en-GB" sz="1400" dirty="0">
                <a:solidFill>
                  <a:schemeClr val="accent1"/>
                </a:solidFill>
              </a:rPr>
              <a:t>Growth of online purchasing and same day shipments by air has increased during COVID pandemic</a:t>
            </a:r>
          </a:p>
          <a:p>
            <a:pPr>
              <a:lnSpc>
                <a:spcPct val="100000"/>
              </a:lnSpc>
              <a:spcAft>
                <a:spcPts val="300"/>
              </a:spcAft>
            </a:pPr>
            <a:r>
              <a:rPr lang="en-GB" sz="1400" dirty="0">
                <a:solidFill>
                  <a:schemeClr val="accent1"/>
                </a:solidFill>
              </a:rPr>
              <a:t>Airports and regions that adopt modern, paperless systems create a competitive advantage that enables the realization of lucrative air cargo hubs.</a:t>
            </a:r>
          </a:p>
          <a:p>
            <a:pPr>
              <a:lnSpc>
                <a:spcPct val="100000"/>
              </a:lnSpc>
              <a:spcAft>
                <a:spcPts val="300"/>
              </a:spcAft>
            </a:pPr>
            <a:r>
              <a:rPr lang="en-GB" sz="1400" dirty="0">
                <a:solidFill>
                  <a:schemeClr val="accent1"/>
                </a:solidFill>
              </a:rPr>
              <a:t>Liberalizing market access for air cargo services</a:t>
            </a:r>
          </a:p>
          <a:p>
            <a:pPr>
              <a:lnSpc>
                <a:spcPct val="100000"/>
              </a:lnSpc>
              <a:spcAft>
                <a:spcPts val="300"/>
              </a:spcAft>
            </a:pPr>
            <a:r>
              <a:rPr lang="en-GB" sz="1400" dirty="0">
                <a:solidFill>
                  <a:schemeClr val="accent1"/>
                </a:solidFill>
              </a:rPr>
              <a:t>CAREC can assist in the penetration of paperless e-cargo systems.</a:t>
            </a:r>
            <a:endParaRPr lang="en-NZ" sz="1400" dirty="0">
              <a:solidFill>
                <a:schemeClr val="accent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7C5F85-59AD-42D1-8B6A-714BE0B5BD6D}"/>
              </a:ext>
            </a:extLst>
          </p:cNvPr>
          <p:cNvSpPr txBox="1"/>
          <p:nvPr/>
        </p:nvSpPr>
        <p:spPr>
          <a:xfrm>
            <a:off x="161626" y="6633717"/>
            <a:ext cx="1001107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050" dirty="0">
                <a:solidFill>
                  <a:schemeClr val="tx2"/>
                </a:solidFill>
              </a:rPr>
              <a:t>Source: </a:t>
            </a:r>
            <a:r>
              <a:rPr lang="en-GB" sz="1050" dirty="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viation and the Role of CAREC: A Scoping Study | Asian Development Bank (adb.org)</a:t>
            </a:r>
            <a:r>
              <a:rPr lang="en-GB" sz="1050" dirty="0">
                <a:solidFill>
                  <a:schemeClr val="tx2"/>
                </a:solidFill>
              </a:rPr>
              <a:t>, </a:t>
            </a:r>
            <a:r>
              <a:rPr lang="en-GB" sz="1050" dirty="0">
                <a:solidFill>
                  <a:schemeClr val="tx2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olving from Paper-based Air Cargo Practices to Electronic Solutions (icao.int)</a:t>
            </a:r>
            <a:endParaRPr lang="en-NZ" sz="1050" dirty="0">
              <a:solidFill>
                <a:schemeClr val="tx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B882B80-DE7B-4253-8537-3970A3418E1B}"/>
              </a:ext>
            </a:extLst>
          </p:cNvPr>
          <p:cNvSpPr txBox="1"/>
          <p:nvPr/>
        </p:nvSpPr>
        <p:spPr>
          <a:xfrm>
            <a:off x="10172700" y="-46745"/>
            <a:ext cx="223837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700" dirty="0"/>
              <a:t>https://www.flightradar24.com/27.16,118.51/3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735DB1A-578B-41F2-B298-81914F75CE0D}"/>
              </a:ext>
            </a:extLst>
          </p:cNvPr>
          <p:cNvSpPr txBox="1">
            <a:spLocks noChangeArrowheads="1"/>
          </p:cNvSpPr>
          <p:nvPr/>
        </p:nvSpPr>
        <p:spPr>
          <a:xfrm>
            <a:off x="625626" y="3275079"/>
            <a:ext cx="4058987" cy="1018588"/>
          </a:xfrm>
          <a:prstGeom prst="rect">
            <a:avLst/>
          </a:prstGeom>
          <a:ln/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lnSpc>
                <a:spcPct val="90000"/>
              </a:lnSpc>
            </a:pPr>
            <a:r>
              <a:rPr lang="ru-RU" altLang="ru-RU" sz="2600" dirty="0">
                <a:solidFill>
                  <a:srgbClr val="FFFFFF"/>
                </a:solidFill>
                <a:latin typeface="Franklin Gothic Demi" panose="020B0703020102020204" pitchFamily="34" charset="0"/>
              </a:rPr>
              <a:t>Либерализация доступа к рынку для грузовых авиаперевозок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0E85E70-EBD2-4C2D-93BE-883FDA5E8BA7}"/>
              </a:ext>
            </a:extLst>
          </p:cNvPr>
          <p:cNvSpPr txBox="1">
            <a:spLocks noChangeArrowheads="1"/>
          </p:cNvSpPr>
          <p:nvPr/>
        </p:nvSpPr>
        <p:spPr>
          <a:xfrm>
            <a:off x="438067" y="4184510"/>
            <a:ext cx="4198933" cy="2173745"/>
          </a:xfrm>
          <a:prstGeom prst="rect">
            <a:avLst/>
          </a:prstGeom>
          <a:ln/>
        </p:spPr>
        <p:txBody>
          <a:bodyPr vert="horz" lIns="91440" tIns="45720" rIns="91440" bIns="45720" rtlCol="0" anchor="ctr">
            <a:normAutofit lnSpcReduction="10000"/>
          </a:bodyPr>
          <a:lstStyle>
            <a:lvl1pPr marL="306000" indent="-306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3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ru-RU" altLang="ru-RU" sz="12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Рост онлайн-покупок и доставка авиатранспортом день в день во время пандемии выросли</a:t>
            </a:r>
          </a:p>
          <a:p>
            <a:pPr>
              <a:lnSpc>
                <a:spcPct val="100000"/>
              </a:lnSpc>
            </a:pPr>
            <a:r>
              <a:rPr lang="ru-RU" altLang="ru-RU" sz="12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Аэропорты и регионы, которые внедряют современные безбумажные системы, создают конкурентные преимущества, которые позволяют реализовать прибыльные </a:t>
            </a:r>
            <a:r>
              <a:rPr lang="ru-RU" altLang="ru-RU" sz="1200" dirty="0" err="1">
                <a:solidFill>
                  <a:srgbClr val="FFFFFF"/>
                </a:solidFill>
                <a:latin typeface="Franklin Gothic Book" panose="020B0503020102020204" pitchFamily="34" charset="0"/>
              </a:rPr>
              <a:t>хабы</a:t>
            </a:r>
            <a:r>
              <a:rPr lang="ru-RU" altLang="ru-RU" sz="12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 для грузовых авиаперевозок.</a:t>
            </a:r>
          </a:p>
          <a:p>
            <a:pPr>
              <a:lnSpc>
                <a:spcPct val="100000"/>
              </a:lnSpc>
            </a:pPr>
            <a:r>
              <a:rPr lang="ru-RU" altLang="ru-RU" sz="12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Либерализация доступа к рынку для грузовых авиаперевозок</a:t>
            </a:r>
          </a:p>
          <a:p>
            <a:pPr>
              <a:lnSpc>
                <a:spcPct val="100000"/>
              </a:lnSpc>
            </a:pPr>
            <a:r>
              <a:rPr lang="ru-RU" altLang="ru-RU" sz="12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ЦАРЭС может помочь во внедрении безбумажных систем электронных грузовых перевозок.</a:t>
            </a:r>
          </a:p>
        </p:txBody>
      </p:sp>
    </p:spTree>
    <p:extLst>
      <p:ext uri="{BB962C8B-B14F-4D97-AF65-F5344CB8AC3E}">
        <p14:creationId xmlns:p14="http://schemas.microsoft.com/office/powerpoint/2010/main" val="31035401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D94223E-A46D-4314-AB3B-98DB665D261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580" y="365760"/>
            <a:ext cx="11292840" cy="6126480"/>
          </a:xfrm>
          <a:prstGeom prst="rect">
            <a:avLst/>
          </a:prstGeom>
        </p:spPr>
      </p:pic>
      <p:sp>
        <p:nvSpPr>
          <p:cNvPr id="22" name="Rectangle 11">
            <a:extLst>
              <a:ext uri="{FF2B5EF4-FFF2-40B4-BE49-F238E27FC236}">
                <a16:creationId xmlns:a16="http://schemas.microsoft.com/office/drawing/2014/main" id="{36B822CC-7DA9-4417-AA94-64CEB676F0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7234" y="4219240"/>
            <a:ext cx="11301984" cy="94997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Rectangle 13">
            <a:extLst>
              <a:ext uri="{FF2B5EF4-FFF2-40B4-BE49-F238E27FC236}">
                <a16:creationId xmlns:a16="http://schemas.microsoft.com/office/drawing/2014/main" id="{AFA01E88-71CC-4FF3-9E81-51E0C32B45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7234" y="4376057"/>
            <a:ext cx="11303626" cy="2034709"/>
          </a:xfrm>
          <a:prstGeom prst="rect">
            <a:avLst/>
          </a:prstGeom>
          <a:solidFill>
            <a:schemeClr val="bg1">
              <a:alpha val="95000"/>
            </a:schemeClr>
          </a:solidFill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2723EB-0B12-4309-B815-CAEEF8F7B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9600" y="4613395"/>
            <a:ext cx="3353432" cy="1336485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200" dirty="0">
                <a:solidFill>
                  <a:schemeClr val="accent1"/>
                </a:solidFill>
              </a:rPr>
              <a:t>Fast, efficient processing and transit of air cargo</a:t>
            </a:r>
            <a:endParaRPr lang="en-NZ" sz="22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4A9E34-809C-4D83-80F3-ECE3AC9C6C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33033" y="4673468"/>
            <a:ext cx="7939407" cy="1631551"/>
          </a:xfrm>
        </p:spPr>
        <p:txBody>
          <a:bodyPr>
            <a:normAutofit fontScale="92500"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GB" sz="1800" dirty="0">
                <a:solidFill>
                  <a:schemeClr val="accent1"/>
                </a:solidFill>
              </a:rPr>
              <a:t>Airfreight services require efficient customs processes and cross-border controls for viable operations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GB" sz="1800" dirty="0">
                <a:solidFill>
                  <a:schemeClr val="accent1"/>
                </a:solidFill>
              </a:rPr>
              <a:t>Air cargo focus is typically on high value, time-sensitive, perishable products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GB" sz="1800" dirty="0">
                <a:solidFill>
                  <a:schemeClr val="accent1"/>
                </a:solidFill>
              </a:rPr>
              <a:t>Modernizing the purchase, tracking, and receipt of air cargo shipments across national borders provides greater efficiency and security for the consumer.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58B3F1-A6E7-4288-9625-F2CB0998C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7526" y="5981897"/>
            <a:ext cx="544874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3A98EE3D-8CD1-4C3F-BD1C-C98C9596463C}" type="slidenum">
              <a:rPr lang="en-US">
                <a:solidFill>
                  <a:srgbClr val="29D0FF"/>
                </a:solidFill>
              </a:rPr>
              <a:pPr>
                <a:spcAft>
                  <a:spcPts val="600"/>
                </a:spcAft>
              </a:pPr>
              <a:t>16</a:t>
            </a:fld>
            <a:endParaRPr lang="en-US">
              <a:solidFill>
                <a:srgbClr val="29D0FF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7C5F85-59AD-42D1-8B6A-714BE0B5BD6D}"/>
              </a:ext>
            </a:extLst>
          </p:cNvPr>
          <p:cNvSpPr txBox="1"/>
          <p:nvPr/>
        </p:nvSpPr>
        <p:spPr>
          <a:xfrm>
            <a:off x="1945531" y="6410766"/>
            <a:ext cx="86102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900" dirty="0">
                <a:solidFill>
                  <a:schemeClr val="tx2"/>
                </a:solidFill>
              </a:rPr>
              <a:t>Source: </a:t>
            </a:r>
            <a:r>
              <a:rPr lang="en-GB" sz="900" dirty="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viation and the Role of CAREC: A Scoping Study | Asian Development Bank (adb.org)</a:t>
            </a:r>
            <a:r>
              <a:rPr lang="en-GB" sz="900" dirty="0">
                <a:solidFill>
                  <a:schemeClr val="tx2"/>
                </a:solidFill>
              </a:rPr>
              <a:t>, </a:t>
            </a:r>
            <a:r>
              <a:rPr lang="en-GB" sz="900" dirty="0">
                <a:solidFill>
                  <a:schemeClr val="tx2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olving from Paper-based Air Cargo Practices to Electronic Solutions (icao.int)</a:t>
            </a:r>
            <a:endParaRPr lang="en-NZ" sz="900" dirty="0">
              <a:solidFill>
                <a:schemeClr val="tx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D8FDDB-67D9-4164-8E82-A6DEA993AFB6}"/>
              </a:ext>
            </a:extLst>
          </p:cNvPr>
          <p:cNvSpPr txBox="1"/>
          <p:nvPr/>
        </p:nvSpPr>
        <p:spPr>
          <a:xfrm>
            <a:off x="441140" y="552980"/>
            <a:ext cx="30558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accent2"/>
                </a:solidFill>
              </a:rPr>
              <a:t>Image source: </a:t>
            </a:r>
            <a:r>
              <a:rPr lang="en-GB" sz="900" b="0" i="0" dirty="0">
                <a:solidFill>
                  <a:schemeClr val="accent2"/>
                </a:solidFill>
                <a:effectLst/>
                <a:latin typeface="Hind"/>
              </a:rPr>
              <a:t>FedEx, A FedEx Boeing 767 Freighter.</a:t>
            </a:r>
          </a:p>
          <a:p>
            <a:endParaRPr lang="en-NZ" sz="900" dirty="0">
              <a:solidFill>
                <a:schemeClr val="accent2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790CF2F-23F4-49F7-B262-9F4A4B76BADF}"/>
              </a:ext>
            </a:extLst>
          </p:cNvPr>
          <p:cNvSpPr txBox="1">
            <a:spLocks noChangeArrowheads="1"/>
          </p:cNvSpPr>
          <p:nvPr/>
        </p:nvSpPr>
        <p:spPr>
          <a:xfrm>
            <a:off x="568264" y="737646"/>
            <a:ext cx="3705155" cy="1336675"/>
          </a:xfrm>
          <a:prstGeom prst="rect">
            <a:avLst/>
          </a:prstGeom>
          <a:ln/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lnSpc>
                <a:spcPct val="90000"/>
              </a:lnSpc>
            </a:pPr>
            <a:r>
              <a:rPr lang="ru-RU" altLang="ru-RU" sz="2200" dirty="0">
                <a:latin typeface="Franklin Gothic Demi" panose="020B0703020102020204" pitchFamily="34" charset="0"/>
              </a:rPr>
              <a:t>Быстрая, эффективная обработка и транзит воздушных грузов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2D8A116-3196-4A32-B829-5E14F410EA0E}"/>
              </a:ext>
            </a:extLst>
          </p:cNvPr>
          <p:cNvSpPr txBox="1">
            <a:spLocks noChangeArrowheads="1"/>
          </p:cNvSpPr>
          <p:nvPr/>
        </p:nvSpPr>
        <p:spPr>
          <a:xfrm>
            <a:off x="4200984" y="559845"/>
            <a:ext cx="7541435" cy="2078915"/>
          </a:xfrm>
          <a:prstGeom prst="rect">
            <a:avLst/>
          </a:prstGeom>
          <a:ln/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3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ru-RU" altLang="ru-RU" sz="16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Грузовые авиаперевозки требуют эффективных таможенных процессов и трансграничного контроля для эффективной деятельности</a:t>
            </a:r>
          </a:p>
          <a:p>
            <a:pPr>
              <a:lnSpc>
                <a:spcPct val="100000"/>
              </a:lnSpc>
            </a:pPr>
            <a:r>
              <a:rPr lang="ru-RU" altLang="ru-RU" sz="16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Как правило, грузовые авиаперевозки предназначены для ценных, ограниченных во времени, скоропортящихся товаров</a:t>
            </a:r>
          </a:p>
          <a:p>
            <a:pPr>
              <a:lnSpc>
                <a:spcPct val="100000"/>
              </a:lnSpc>
            </a:pPr>
            <a:r>
              <a:rPr lang="ru-RU" altLang="ru-RU" sz="16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Модернизация закупок, отслеживания и получения воздушных грузоотправлений через национальные границы повышает эффективность и безопасность для потребителя. </a:t>
            </a:r>
          </a:p>
        </p:txBody>
      </p:sp>
    </p:spTree>
    <p:extLst>
      <p:ext uri="{BB962C8B-B14F-4D97-AF65-F5344CB8AC3E}">
        <p14:creationId xmlns:p14="http://schemas.microsoft.com/office/powerpoint/2010/main" val="35164453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94428C-8D36-49B8-83CD-AAFA942EB59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752" y="1264596"/>
            <a:ext cx="9951396" cy="5034316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8046C0D9-2F1D-4424-8645-B98EB36128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643" y="433737"/>
            <a:ext cx="11029616" cy="56244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STRATEGIC HUBS SUPPORT EFFICIENT TRANSFER OF AIR CARGO</a:t>
            </a:r>
            <a:endParaRPr lang="en-NZ" dirty="0">
              <a:solidFill>
                <a:schemeClr val="accent1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096D0EB-0A11-4D84-AF1E-5CD3F0E093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1818" y="5590996"/>
            <a:ext cx="10885110" cy="816579"/>
          </a:xfrm>
          <a:solidFill>
            <a:schemeClr val="tx1"/>
          </a:solidFill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1"/>
                </a:solidFill>
              </a:rPr>
              <a:t>Coordinating air transport hubs across CAREC improves reach accessibility for transporting goods by air</a:t>
            </a:r>
            <a:endParaRPr lang="en-NZ" sz="1800" b="1" dirty="0">
              <a:solidFill>
                <a:schemeClr val="accent1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07F7B1-E897-4F04-9B6D-8340CEA51F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17</a:t>
            </a:fld>
            <a:endParaRPr lang="en-US" dirty="0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3A6F5150-D2F7-4B90-AF2D-786592447114}"/>
              </a:ext>
            </a:extLst>
          </p:cNvPr>
          <p:cNvSpPr/>
          <p:nvPr/>
        </p:nvSpPr>
        <p:spPr>
          <a:xfrm>
            <a:off x="8349751" y="2788141"/>
            <a:ext cx="2227634" cy="840185"/>
          </a:xfrm>
          <a:prstGeom prst="rightArrow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/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FC15F1A5-6266-4BCF-8CB3-929D2D2A28E1}"/>
              </a:ext>
            </a:extLst>
          </p:cNvPr>
          <p:cNvSpPr/>
          <p:nvPr/>
        </p:nvSpPr>
        <p:spPr>
          <a:xfrm rot="10800000">
            <a:off x="698675" y="2777960"/>
            <a:ext cx="1096440" cy="880841"/>
          </a:xfrm>
          <a:prstGeom prst="rightArrow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Z"/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957391F0-7E64-40EE-BE6D-0578DE814CCE}"/>
              </a:ext>
            </a:extLst>
          </p:cNvPr>
          <p:cNvGrpSpPr/>
          <p:nvPr/>
        </p:nvGrpSpPr>
        <p:grpSpPr>
          <a:xfrm>
            <a:off x="3304899" y="2582727"/>
            <a:ext cx="1540212" cy="1127492"/>
            <a:chOff x="-287602" y="4006375"/>
            <a:chExt cx="1540212" cy="1127492"/>
          </a:xfrm>
        </p:grpSpPr>
        <p:sp>
          <p:nvSpPr>
            <p:cNvPr id="61" name="Oval 13">
              <a:extLst>
                <a:ext uri="{FF2B5EF4-FFF2-40B4-BE49-F238E27FC236}">
                  <a16:creationId xmlns:a16="http://schemas.microsoft.com/office/drawing/2014/main" id="{7B5F25CC-1DB6-469B-9A68-48424421DDD5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1750" y="4449558"/>
              <a:ext cx="388683" cy="323642"/>
            </a:xfrm>
            <a:prstGeom prst="ellipse">
              <a:avLst/>
            </a:prstGeom>
            <a:solidFill>
              <a:srgbClr val="1CADE4">
                <a:alpha val="18039"/>
              </a:srgbClr>
            </a:solidFill>
            <a:ln w="19050">
              <a:solidFill>
                <a:schemeClr val="accent2"/>
              </a:solidFill>
              <a:round/>
              <a:headEnd/>
              <a:tailEnd/>
            </a:ln>
            <a:effectLst>
              <a:outerShdw dist="35921" dir="2700000" algn="ctr" rotWithShape="0">
                <a:schemeClr val="accent1"/>
              </a:outerShdw>
            </a:effectLst>
          </p:spPr>
          <p:txBody>
            <a:bodyPr wrap="none" anchor="ctr"/>
            <a:lstStyle/>
            <a:p>
              <a:endParaRPr lang="en-NZ"/>
            </a:p>
          </p:txBody>
        </p: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4F1788C7-0A11-4460-AD88-59941F5C7AA7}"/>
                </a:ext>
              </a:extLst>
            </p:cNvPr>
            <p:cNvCxnSpPr/>
            <p:nvPr/>
          </p:nvCxnSpPr>
          <p:spPr>
            <a:xfrm>
              <a:off x="640189" y="4611379"/>
              <a:ext cx="61242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CAACFA0B-AB54-43E0-919C-D9C36BB6F7E4}"/>
                </a:ext>
              </a:extLst>
            </p:cNvPr>
            <p:cNvCxnSpPr>
              <a:cxnSpLocks/>
              <a:stCxn id="61" idx="5"/>
            </p:cNvCxnSpPr>
            <p:nvPr/>
          </p:nvCxnSpPr>
          <p:spPr>
            <a:xfrm>
              <a:off x="543512" y="4725804"/>
              <a:ext cx="596030" cy="28530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439DF6F6-4496-49B8-BEF0-37DB5B4819B6}"/>
                </a:ext>
              </a:extLst>
            </p:cNvPr>
            <p:cNvCxnSpPr>
              <a:cxnSpLocks/>
              <a:stCxn id="61" idx="7"/>
            </p:cNvCxnSpPr>
            <p:nvPr/>
          </p:nvCxnSpPr>
          <p:spPr>
            <a:xfrm flipV="1">
              <a:off x="543512" y="4187510"/>
              <a:ext cx="488904" cy="3094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1025131C-4EA4-4C74-8649-4C6ED9E80DD2}"/>
                </a:ext>
              </a:extLst>
            </p:cNvPr>
            <p:cNvCxnSpPr>
              <a:cxnSpLocks/>
              <a:stCxn id="61" idx="1"/>
            </p:cNvCxnSpPr>
            <p:nvPr/>
          </p:nvCxnSpPr>
          <p:spPr>
            <a:xfrm flipH="1" flipV="1">
              <a:off x="-42490" y="4006375"/>
              <a:ext cx="311161" cy="49057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EB258A4C-AE34-4C56-BDD0-A7E570C16724}"/>
                </a:ext>
              </a:extLst>
            </p:cNvPr>
            <p:cNvCxnSpPr>
              <a:cxnSpLocks/>
              <a:stCxn id="61" idx="2"/>
            </p:cNvCxnSpPr>
            <p:nvPr/>
          </p:nvCxnSpPr>
          <p:spPr>
            <a:xfrm flipH="1" flipV="1">
              <a:off x="-287602" y="4349333"/>
              <a:ext cx="499352" cy="26204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82F9703E-C4E6-4518-B6D5-E60111DE55CD}"/>
                </a:ext>
              </a:extLst>
            </p:cNvPr>
            <p:cNvCxnSpPr>
              <a:cxnSpLocks/>
              <a:stCxn id="61" idx="4"/>
            </p:cNvCxnSpPr>
            <p:nvPr/>
          </p:nvCxnSpPr>
          <p:spPr>
            <a:xfrm flipH="1">
              <a:off x="352696" y="4773200"/>
              <a:ext cx="53396" cy="36066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36ECC137-EB9F-408F-893D-B85F12BAFD88}"/>
                </a:ext>
              </a:extLst>
            </p:cNvPr>
            <p:cNvCxnSpPr>
              <a:cxnSpLocks/>
              <a:stCxn id="61" idx="3"/>
            </p:cNvCxnSpPr>
            <p:nvPr/>
          </p:nvCxnSpPr>
          <p:spPr>
            <a:xfrm flipH="1">
              <a:off x="-41609" y="4725804"/>
              <a:ext cx="310280" cy="2277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Arrow Connector 68">
              <a:extLst>
                <a:ext uri="{FF2B5EF4-FFF2-40B4-BE49-F238E27FC236}">
                  <a16:creationId xmlns:a16="http://schemas.microsoft.com/office/drawing/2014/main" id="{91243051-B461-4502-9D68-D14A863514E8}"/>
                </a:ext>
              </a:extLst>
            </p:cNvPr>
            <p:cNvCxnSpPr>
              <a:cxnSpLocks/>
              <a:stCxn id="61" idx="0"/>
            </p:cNvCxnSpPr>
            <p:nvPr/>
          </p:nvCxnSpPr>
          <p:spPr>
            <a:xfrm flipV="1">
              <a:off x="406092" y="4006375"/>
              <a:ext cx="39608" cy="4431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0FB9FEEB-3C97-40DA-A583-5DE8BC811593}"/>
              </a:ext>
            </a:extLst>
          </p:cNvPr>
          <p:cNvGrpSpPr/>
          <p:nvPr/>
        </p:nvGrpSpPr>
        <p:grpSpPr>
          <a:xfrm>
            <a:off x="2697639" y="2882524"/>
            <a:ext cx="1540212" cy="1127492"/>
            <a:chOff x="-287602" y="4006375"/>
            <a:chExt cx="1540212" cy="1127492"/>
          </a:xfrm>
        </p:grpSpPr>
        <p:sp>
          <p:nvSpPr>
            <p:cNvPr id="71" name="Oval 13">
              <a:extLst>
                <a:ext uri="{FF2B5EF4-FFF2-40B4-BE49-F238E27FC236}">
                  <a16:creationId xmlns:a16="http://schemas.microsoft.com/office/drawing/2014/main" id="{4CCB78D2-95E6-497D-BCA3-FB91BCC318E7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1750" y="4449558"/>
              <a:ext cx="388683" cy="323642"/>
            </a:xfrm>
            <a:prstGeom prst="ellipse">
              <a:avLst/>
            </a:prstGeom>
            <a:solidFill>
              <a:srgbClr val="1CADE4">
                <a:alpha val="18039"/>
              </a:srgbClr>
            </a:solidFill>
            <a:ln w="19050">
              <a:solidFill>
                <a:schemeClr val="accent2"/>
              </a:solidFill>
              <a:round/>
              <a:headEnd/>
              <a:tailEnd/>
            </a:ln>
            <a:effectLst>
              <a:outerShdw dist="35921" dir="2700000" algn="ctr" rotWithShape="0">
                <a:schemeClr val="accent1"/>
              </a:outerShdw>
            </a:effectLst>
          </p:spPr>
          <p:txBody>
            <a:bodyPr wrap="none" anchor="ctr"/>
            <a:lstStyle/>
            <a:p>
              <a:endParaRPr lang="en-NZ"/>
            </a:p>
          </p:txBody>
        </p:sp>
        <p:cxnSp>
          <p:nvCxnSpPr>
            <p:cNvPr id="72" name="Straight Arrow Connector 71">
              <a:extLst>
                <a:ext uri="{FF2B5EF4-FFF2-40B4-BE49-F238E27FC236}">
                  <a16:creationId xmlns:a16="http://schemas.microsoft.com/office/drawing/2014/main" id="{0246ED2F-19E3-46A7-BBFD-39662D174E36}"/>
                </a:ext>
              </a:extLst>
            </p:cNvPr>
            <p:cNvCxnSpPr/>
            <p:nvPr/>
          </p:nvCxnSpPr>
          <p:spPr>
            <a:xfrm>
              <a:off x="640189" y="4611379"/>
              <a:ext cx="61242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640A6A21-E9E8-456F-AEC0-CF1625F89302}"/>
                </a:ext>
              </a:extLst>
            </p:cNvPr>
            <p:cNvCxnSpPr>
              <a:cxnSpLocks/>
              <a:stCxn id="71" idx="5"/>
            </p:cNvCxnSpPr>
            <p:nvPr/>
          </p:nvCxnSpPr>
          <p:spPr>
            <a:xfrm>
              <a:off x="543512" y="4725804"/>
              <a:ext cx="596030" cy="28530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Arrow Connector 73">
              <a:extLst>
                <a:ext uri="{FF2B5EF4-FFF2-40B4-BE49-F238E27FC236}">
                  <a16:creationId xmlns:a16="http://schemas.microsoft.com/office/drawing/2014/main" id="{5500CF30-4A9E-4EC3-ABBC-A6E815515AAE}"/>
                </a:ext>
              </a:extLst>
            </p:cNvPr>
            <p:cNvCxnSpPr>
              <a:cxnSpLocks/>
              <a:stCxn id="71" idx="7"/>
            </p:cNvCxnSpPr>
            <p:nvPr/>
          </p:nvCxnSpPr>
          <p:spPr>
            <a:xfrm flipV="1">
              <a:off x="543512" y="4187510"/>
              <a:ext cx="488904" cy="3094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A6E1BC27-FA21-4973-9DA1-BFC703186C4C}"/>
                </a:ext>
              </a:extLst>
            </p:cNvPr>
            <p:cNvCxnSpPr>
              <a:cxnSpLocks/>
              <a:stCxn id="71" idx="1"/>
            </p:cNvCxnSpPr>
            <p:nvPr/>
          </p:nvCxnSpPr>
          <p:spPr>
            <a:xfrm flipH="1" flipV="1">
              <a:off x="-42490" y="4006375"/>
              <a:ext cx="311161" cy="49057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9B1CB3D1-E183-4DFE-B813-6326B651A37D}"/>
                </a:ext>
              </a:extLst>
            </p:cNvPr>
            <p:cNvCxnSpPr>
              <a:cxnSpLocks/>
              <a:stCxn id="71" idx="2"/>
            </p:cNvCxnSpPr>
            <p:nvPr/>
          </p:nvCxnSpPr>
          <p:spPr>
            <a:xfrm flipH="1" flipV="1">
              <a:off x="-287602" y="4349333"/>
              <a:ext cx="499352" cy="26204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Arrow Connector 76">
              <a:extLst>
                <a:ext uri="{FF2B5EF4-FFF2-40B4-BE49-F238E27FC236}">
                  <a16:creationId xmlns:a16="http://schemas.microsoft.com/office/drawing/2014/main" id="{9C2B808A-ACA4-4F65-AC0E-3A3F540B7A92}"/>
                </a:ext>
              </a:extLst>
            </p:cNvPr>
            <p:cNvCxnSpPr>
              <a:cxnSpLocks/>
              <a:stCxn id="71" idx="4"/>
            </p:cNvCxnSpPr>
            <p:nvPr/>
          </p:nvCxnSpPr>
          <p:spPr>
            <a:xfrm flipH="1">
              <a:off x="352696" y="4773200"/>
              <a:ext cx="53396" cy="36066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Arrow Connector 77">
              <a:extLst>
                <a:ext uri="{FF2B5EF4-FFF2-40B4-BE49-F238E27FC236}">
                  <a16:creationId xmlns:a16="http://schemas.microsoft.com/office/drawing/2014/main" id="{AF7ED0D7-FA1E-4F2A-918A-48CA3AF8B07A}"/>
                </a:ext>
              </a:extLst>
            </p:cNvPr>
            <p:cNvCxnSpPr>
              <a:cxnSpLocks/>
              <a:stCxn id="71" idx="3"/>
            </p:cNvCxnSpPr>
            <p:nvPr/>
          </p:nvCxnSpPr>
          <p:spPr>
            <a:xfrm flipH="1">
              <a:off x="-41609" y="4725804"/>
              <a:ext cx="310280" cy="2277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D8CC3860-5AE6-454D-81E1-ACEF7DF35AB4}"/>
                </a:ext>
              </a:extLst>
            </p:cNvPr>
            <p:cNvCxnSpPr>
              <a:cxnSpLocks/>
              <a:stCxn id="71" idx="0"/>
            </p:cNvCxnSpPr>
            <p:nvPr/>
          </p:nvCxnSpPr>
          <p:spPr>
            <a:xfrm flipV="1">
              <a:off x="406092" y="4006375"/>
              <a:ext cx="39608" cy="4431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AB5C9318-CB1F-4BCE-A733-5DA7D81C480D}"/>
              </a:ext>
            </a:extLst>
          </p:cNvPr>
          <p:cNvGrpSpPr/>
          <p:nvPr/>
        </p:nvGrpSpPr>
        <p:grpSpPr>
          <a:xfrm>
            <a:off x="1517658" y="2592252"/>
            <a:ext cx="1540212" cy="1127492"/>
            <a:chOff x="-287602" y="4006375"/>
            <a:chExt cx="1540212" cy="1127492"/>
          </a:xfrm>
        </p:grpSpPr>
        <p:sp>
          <p:nvSpPr>
            <p:cNvPr id="81" name="Oval 13">
              <a:extLst>
                <a:ext uri="{FF2B5EF4-FFF2-40B4-BE49-F238E27FC236}">
                  <a16:creationId xmlns:a16="http://schemas.microsoft.com/office/drawing/2014/main" id="{4A3257DE-CD9F-45AA-A1A0-35823680FA20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1750" y="4449558"/>
              <a:ext cx="388683" cy="323642"/>
            </a:xfrm>
            <a:prstGeom prst="ellipse">
              <a:avLst/>
            </a:prstGeom>
            <a:solidFill>
              <a:srgbClr val="1CADE4">
                <a:alpha val="18039"/>
              </a:srgbClr>
            </a:solidFill>
            <a:ln w="19050">
              <a:solidFill>
                <a:schemeClr val="accent2"/>
              </a:solidFill>
              <a:round/>
              <a:headEnd/>
              <a:tailEnd/>
            </a:ln>
            <a:effectLst>
              <a:outerShdw dist="35921" dir="2700000" algn="ctr" rotWithShape="0">
                <a:schemeClr val="accent1"/>
              </a:outerShdw>
            </a:effectLst>
          </p:spPr>
          <p:txBody>
            <a:bodyPr wrap="none" anchor="ctr"/>
            <a:lstStyle/>
            <a:p>
              <a:endParaRPr lang="en-NZ"/>
            </a:p>
          </p:txBody>
        </p: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3DB0E932-12AF-467B-A756-FE9B7390DC9A}"/>
                </a:ext>
              </a:extLst>
            </p:cNvPr>
            <p:cNvCxnSpPr/>
            <p:nvPr/>
          </p:nvCxnSpPr>
          <p:spPr>
            <a:xfrm>
              <a:off x="640189" y="4611379"/>
              <a:ext cx="61242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A038213D-3641-44BA-92E6-22DC40E6EE7C}"/>
                </a:ext>
              </a:extLst>
            </p:cNvPr>
            <p:cNvCxnSpPr>
              <a:cxnSpLocks/>
              <a:stCxn id="81" idx="5"/>
            </p:cNvCxnSpPr>
            <p:nvPr/>
          </p:nvCxnSpPr>
          <p:spPr>
            <a:xfrm>
              <a:off x="543512" y="4725804"/>
              <a:ext cx="596030" cy="28530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88ACBDFD-D458-4E6A-AEBC-44D684FD57C7}"/>
                </a:ext>
              </a:extLst>
            </p:cNvPr>
            <p:cNvCxnSpPr>
              <a:cxnSpLocks/>
              <a:stCxn id="81" idx="7"/>
            </p:cNvCxnSpPr>
            <p:nvPr/>
          </p:nvCxnSpPr>
          <p:spPr>
            <a:xfrm flipV="1">
              <a:off x="543512" y="4187510"/>
              <a:ext cx="488904" cy="3094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CCF0DB2F-34DB-4D8E-9741-1565F9C7A935}"/>
                </a:ext>
              </a:extLst>
            </p:cNvPr>
            <p:cNvCxnSpPr>
              <a:cxnSpLocks/>
              <a:stCxn id="81" idx="1"/>
            </p:cNvCxnSpPr>
            <p:nvPr/>
          </p:nvCxnSpPr>
          <p:spPr>
            <a:xfrm flipH="1" flipV="1">
              <a:off x="-42490" y="4006375"/>
              <a:ext cx="311161" cy="49057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57D12953-EEBC-40B3-855E-39DA44E34DF7}"/>
                </a:ext>
              </a:extLst>
            </p:cNvPr>
            <p:cNvCxnSpPr>
              <a:cxnSpLocks/>
              <a:stCxn id="81" idx="2"/>
            </p:cNvCxnSpPr>
            <p:nvPr/>
          </p:nvCxnSpPr>
          <p:spPr>
            <a:xfrm flipH="1" flipV="1">
              <a:off x="-287602" y="4349333"/>
              <a:ext cx="499352" cy="26204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3AD94FF3-EECA-4EA5-8962-52CF57425F79}"/>
                </a:ext>
              </a:extLst>
            </p:cNvPr>
            <p:cNvCxnSpPr>
              <a:cxnSpLocks/>
              <a:stCxn id="81" idx="4"/>
            </p:cNvCxnSpPr>
            <p:nvPr/>
          </p:nvCxnSpPr>
          <p:spPr>
            <a:xfrm flipH="1">
              <a:off x="352696" y="4773200"/>
              <a:ext cx="53396" cy="36066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EE87B55A-FD69-4EA8-BD7B-B03B44043DFE}"/>
                </a:ext>
              </a:extLst>
            </p:cNvPr>
            <p:cNvCxnSpPr>
              <a:cxnSpLocks/>
              <a:stCxn id="81" idx="3"/>
            </p:cNvCxnSpPr>
            <p:nvPr/>
          </p:nvCxnSpPr>
          <p:spPr>
            <a:xfrm flipH="1">
              <a:off x="-41609" y="4725804"/>
              <a:ext cx="310280" cy="2277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F3853262-D3EF-4D0C-9743-109142D39D6C}"/>
                </a:ext>
              </a:extLst>
            </p:cNvPr>
            <p:cNvCxnSpPr>
              <a:cxnSpLocks/>
              <a:stCxn id="81" idx="0"/>
            </p:cNvCxnSpPr>
            <p:nvPr/>
          </p:nvCxnSpPr>
          <p:spPr>
            <a:xfrm flipV="1">
              <a:off x="406092" y="4006375"/>
              <a:ext cx="39608" cy="4431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6331BE56-2CB2-4999-B49F-DE5E9F5FAF1D}"/>
              </a:ext>
            </a:extLst>
          </p:cNvPr>
          <p:cNvGrpSpPr/>
          <p:nvPr/>
        </p:nvGrpSpPr>
        <p:grpSpPr>
          <a:xfrm>
            <a:off x="3914802" y="2163325"/>
            <a:ext cx="1540212" cy="1127492"/>
            <a:chOff x="-287602" y="4006375"/>
            <a:chExt cx="1540212" cy="1127492"/>
          </a:xfrm>
        </p:grpSpPr>
        <p:sp>
          <p:nvSpPr>
            <p:cNvPr id="91" name="Oval 13">
              <a:extLst>
                <a:ext uri="{FF2B5EF4-FFF2-40B4-BE49-F238E27FC236}">
                  <a16:creationId xmlns:a16="http://schemas.microsoft.com/office/drawing/2014/main" id="{2871F85E-DE21-4460-88E7-C67F3FC94984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1750" y="4449558"/>
              <a:ext cx="388683" cy="323642"/>
            </a:xfrm>
            <a:prstGeom prst="ellipse">
              <a:avLst/>
            </a:prstGeom>
            <a:solidFill>
              <a:schemeClr val="accent4">
                <a:lumMod val="75000"/>
                <a:alpha val="18039"/>
              </a:schemeClr>
            </a:solidFill>
            <a:ln w="19050">
              <a:solidFill>
                <a:schemeClr val="accent2"/>
              </a:solidFill>
              <a:round/>
              <a:headEnd/>
              <a:tailEnd/>
            </a:ln>
            <a:effectLst>
              <a:outerShdw dist="35921" dir="2700000" algn="ctr" rotWithShape="0">
                <a:schemeClr val="accent1"/>
              </a:outerShdw>
            </a:effectLst>
          </p:spPr>
          <p:txBody>
            <a:bodyPr wrap="none" anchor="ctr"/>
            <a:lstStyle/>
            <a:p>
              <a:endParaRPr lang="en-NZ"/>
            </a:p>
          </p:txBody>
        </p: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6CE7BF5C-B0FD-4B3E-A257-7077F0D1D990}"/>
                </a:ext>
              </a:extLst>
            </p:cNvPr>
            <p:cNvCxnSpPr/>
            <p:nvPr/>
          </p:nvCxnSpPr>
          <p:spPr>
            <a:xfrm>
              <a:off x="640189" y="4611379"/>
              <a:ext cx="61242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Arrow Connector 92">
              <a:extLst>
                <a:ext uri="{FF2B5EF4-FFF2-40B4-BE49-F238E27FC236}">
                  <a16:creationId xmlns:a16="http://schemas.microsoft.com/office/drawing/2014/main" id="{505013BC-9209-4581-B342-BEF5C8A61935}"/>
                </a:ext>
              </a:extLst>
            </p:cNvPr>
            <p:cNvCxnSpPr>
              <a:cxnSpLocks/>
              <a:stCxn id="91" idx="5"/>
            </p:cNvCxnSpPr>
            <p:nvPr/>
          </p:nvCxnSpPr>
          <p:spPr>
            <a:xfrm>
              <a:off x="543512" y="4725804"/>
              <a:ext cx="596030" cy="28530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Arrow Connector 93">
              <a:extLst>
                <a:ext uri="{FF2B5EF4-FFF2-40B4-BE49-F238E27FC236}">
                  <a16:creationId xmlns:a16="http://schemas.microsoft.com/office/drawing/2014/main" id="{8970AB17-D7CD-44F3-A70F-F4A730B7AA20}"/>
                </a:ext>
              </a:extLst>
            </p:cNvPr>
            <p:cNvCxnSpPr>
              <a:cxnSpLocks/>
              <a:stCxn id="91" idx="7"/>
            </p:cNvCxnSpPr>
            <p:nvPr/>
          </p:nvCxnSpPr>
          <p:spPr>
            <a:xfrm flipV="1">
              <a:off x="543512" y="4187510"/>
              <a:ext cx="488904" cy="3094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Arrow Connector 94">
              <a:extLst>
                <a:ext uri="{FF2B5EF4-FFF2-40B4-BE49-F238E27FC236}">
                  <a16:creationId xmlns:a16="http://schemas.microsoft.com/office/drawing/2014/main" id="{DB994D93-C886-4FF0-B19B-10AD3528B5C4}"/>
                </a:ext>
              </a:extLst>
            </p:cNvPr>
            <p:cNvCxnSpPr>
              <a:cxnSpLocks/>
              <a:stCxn id="91" idx="1"/>
            </p:cNvCxnSpPr>
            <p:nvPr/>
          </p:nvCxnSpPr>
          <p:spPr>
            <a:xfrm flipH="1" flipV="1">
              <a:off x="-42490" y="4006375"/>
              <a:ext cx="311161" cy="49057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Arrow Connector 95">
              <a:extLst>
                <a:ext uri="{FF2B5EF4-FFF2-40B4-BE49-F238E27FC236}">
                  <a16:creationId xmlns:a16="http://schemas.microsoft.com/office/drawing/2014/main" id="{E8B36DED-BB83-4F67-863B-AE19A3093323}"/>
                </a:ext>
              </a:extLst>
            </p:cNvPr>
            <p:cNvCxnSpPr>
              <a:cxnSpLocks/>
              <a:stCxn id="91" idx="2"/>
            </p:cNvCxnSpPr>
            <p:nvPr/>
          </p:nvCxnSpPr>
          <p:spPr>
            <a:xfrm flipH="1" flipV="1">
              <a:off x="-287602" y="4349333"/>
              <a:ext cx="499352" cy="26204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363B8917-EBE0-4239-9118-6235E2234083}"/>
                </a:ext>
              </a:extLst>
            </p:cNvPr>
            <p:cNvCxnSpPr>
              <a:cxnSpLocks/>
              <a:stCxn id="91" idx="4"/>
            </p:cNvCxnSpPr>
            <p:nvPr/>
          </p:nvCxnSpPr>
          <p:spPr>
            <a:xfrm flipH="1">
              <a:off x="352696" y="4773200"/>
              <a:ext cx="53396" cy="36066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Arrow Connector 97">
              <a:extLst>
                <a:ext uri="{FF2B5EF4-FFF2-40B4-BE49-F238E27FC236}">
                  <a16:creationId xmlns:a16="http://schemas.microsoft.com/office/drawing/2014/main" id="{351FC386-7D4F-4BC6-AE5E-38543F4BD141}"/>
                </a:ext>
              </a:extLst>
            </p:cNvPr>
            <p:cNvCxnSpPr>
              <a:cxnSpLocks/>
              <a:stCxn id="91" idx="3"/>
            </p:cNvCxnSpPr>
            <p:nvPr/>
          </p:nvCxnSpPr>
          <p:spPr>
            <a:xfrm flipH="1">
              <a:off x="-41609" y="4725804"/>
              <a:ext cx="310280" cy="2277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AEA86FE7-801D-4920-BFDD-056149BEF038}"/>
                </a:ext>
              </a:extLst>
            </p:cNvPr>
            <p:cNvCxnSpPr>
              <a:cxnSpLocks/>
              <a:stCxn id="91" idx="0"/>
            </p:cNvCxnSpPr>
            <p:nvPr/>
          </p:nvCxnSpPr>
          <p:spPr>
            <a:xfrm flipV="1">
              <a:off x="406092" y="4006375"/>
              <a:ext cx="39608" cy="4431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12CD6CBD-BB3E-4A5D-A843-93C0075E6DBB}"/>
              </a:ext>
            </a:extLst>
          </p:cNvPr>
          <p:cNvGrpSpPr/>
          <p:nvPr/>
        </p:nvGrpSpPr>
        <p:grpSpPr>
          <a:xfrm>
            <a:off x="4075005" y="3969530"/>
            <a:ext cx="1540212" cy="1127492"/>
            <a:chOff x="-287602" y="4006375"/>
            <a:chExt cx="1540212" cy="1127492"/>
          </a:xfrm>
        </p:grpSpPr>
        <p:sp>
          <p:nvSpPr>
            <p:cNvPr id="101" name="Oval 13">
              <a:extLst>
                <a:ext uri="{FF2B5EF4-FFF2-40B4-BE49-F238E27FC236}">
                  <a16:creationId xmlns:a16="http://schemas.microsoft.com/office/drawing/2014/main" id="{2D233F8D-7CD1-4C78-9832-9A6204CECFD7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1750" y="4449558"/>
              <a:ext cx="388683" cy="323642"/>
            </a:xfrm>
            <a:prstGeom prst="ellipse">
              <a:avLst/>
            </a:prstGeom>
            <a:solidFill>
              <a:srgbClr val="1CADE4">
                <a:alpha val="18039"/>
              </a:srgbClr>
            </a:solidFill>
            <a:ln w="19050">
              <a:solidFill>
                <a:schemeClr val="accent2"/>
              </a:solidFill>
              <a:round/>
              <a:headEnd/>
              <a:tailEnd/>
            </a:ln>
            <a:effectLst>
              <a:outerShdw dist="35921" dir="2700000" algn="ctr" rotWithShape="0">
                <a:schemeClr val="accent1"/>
              </a:outerShdw>
            </a:effectLst>
          </p:spPr>
          <p:txBody>
            <a:bodyPr wrap="none" anchor="ctr"/>
            <a:lstStyle/>
            <a:p>
              <a:endParaRPr lang="en-NZ"/>
            </a:p>
          </p:txBody>
        </p:sp>
        <p:cxnSp>
          <p:nvCxnSpPr>
            <p:cNvPr id="102" name="Straight Arrow Connector 101">
              <a:extLst>
                <a:ext uri="{FF2B5EF4-FFF2-40B4-BE49-F238E27FC236}">
                  <a16:creationId xmlns:a16="http://schemas.microsoft.com/office/drawing/2014/main" id="{D89A5CD0-FFB9-4DCA-BC74-870D325FD78C}"/>
                </a:ext>
              </a:extLst>
            </p:cNvPr>
            <p:cNvCxnSpPr/>
            <p:nvPr/>
          </p:nvCxnSpPr>
          <p:spPr>
            <a:xfrm>
              <a:off x="640189" y="4611379"/>
              <a:ext cx="61242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Arrow Connector 102">
              <a:extLst>
                <a:ext uri="{FF2B5EF4-FFF2-40B4-BE49-F238E27FC236}">
                  <a16:creationId xmlns:a16="http://schemas.microsoft.com/office/drawing/2014/main" id="{FC6E0514-FA8B-4935-AD79-77CD2420DB0B}"/>
                </a:ext>
              </a:extLst>
            </p:cNvPr>
            <p:cNvCxnSpPr>
              <a:cxnSpLocks/>
              <a:stCxn id="101" idx="5"/>
            </p:cNvCxnSpPr>
            <p:nvPr/>
          </p:nvCxnSpPr>
          <p:spPr>
            <a:xfrm>
              <a:off x="543512" y="4725804"/>
              <a:ext cx="596030" cy="28530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Arrow Connector 103">
              <a:extLst>
                <a:ext uri="{FF2B5EF4-FFF2-40B4-BE49-F238E27FC236}">
                  <a16:creationId xmlns:a16="http://schemas.microsoft.com/office/drawing/2014/main" id="{FA8B8D81-9FB7-4679-933F-617144166766}"/>
                </a:ext>
              </a:extLst>
            </p:cNvPr>
            <p:cNvCxnSpPr>
              <a:cxnSpLocks/>
              <a:stCxn id="101" idx="7"/>
            </p:cNvCxnSpPr>
            <p:nvPr/>
          </p:nvCxnSpPr>
          <p:spPr>
            <a:xfrm flipV="1">
              <a:off x="543512" y="4187510"/>
              <a:ext cx="488904" cy="3094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Arrow Connector 104">
              <a:extLst>
                <a:ext uri="{FF2B5EF4-FFF2-40B4-BE49-F238E27FC236}">
                  <a16:creationId xmlns:a16="http://schemas.microsoft.com/office/drawing/2014/main" id="{769F25F4-A167-4D0E-8DD7-CB1600B7C40A}"/>
                </a:ext>
              </a:extLst>
            </p:cNvPr>
            <p:cNvCxnSpPr>
              <a:cxnSpLocks/>
              <a:stCxn id="101" idx="1"/>
            </p:cNvCxnSpPr>
            <p:nvPr/>
          </p:nvCxnSpPr>
          <p:spPr>
            <a:xfrm flipH="1" flipV="1">
              <a:off x="-42490" y="4006375"/>
              <a:ext cx="311161" cy="49057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id="{7E6F0E6B-7FBC-449F-9897-25882E821635}"/>
                </a:ext>
              </a:extLst>
            </p:cNvPr>
            <p:cNvCxnSpPr>
              <a:cxnSpLocks/>
              <a:stCxn id="101" idx="2"/>
            </p:cNvCxnSpPr>
            <p:nvPr/>
          </p:nvCxnSpPr>
          <p:spPr>
            <a:xfrm flipH="1" flipV="1">
              <a:off x="-287602" y="4349333"/>
              <a:ext cx="499352" cy="26204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Arrow Connector 106">
              <a:extLst>
                <a:ext uri="{FF2B5EF4-FFF2-40B4-BE49-F238E27FC236}">
                  <a16:creationId xmlns:a16="http://schemas.microsoft.com/office/drawing/2014/main" id="{8CC570FA-B4BC-439F-A9E5-BFAE8AA9C0EE}"/>
                </a:ext>
              </a:extLst>
            </p:cNvPr>
            <p:cNvCxnSpPr>
              <a:cxnSpLocks/>
              <a:stCxn id="101" idx="4"/>
            </p:cNvCxnSpPr>
            <p:nvPr/>
          </p:nvCxnSpPr>
          <p:spPr>
            <a:xfrm flipH="1">
              <a:off x="352696" y="4773200"/>
              <a:ext cx="53396" cy="36066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Arrow Connector 107">
              <a:extLst>
                <a:ext uri="{FF2B5EF4-FFF2-40B4-BE49-F238E27FC236}">
                  <a16:creationId xmlns:a16="http://schemas.microsoft.com/office/drawing/2014/main" id="{25D1C4E6-7701-40E7-A4CF-D802511F50BE}"/>
                </a:ext>
              </a:extLst>
            </p:cNvPr>
            <p:cNvCxnSpPr>
              <a:cxnSpLocks/>
              <a:stCxn id="101" idx="3"/>
            </p:cNvCxnSpPr>
            <p:nvPr/>
          </p:nvCxnSpPr>
          <p:spPr>
            <a:xfrm flipH="1">
              <a:off x="-41609" y="4725804"/>
              <a:ext cx="310280" cy="2277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Arrow Connector 108">
              <a:extLst>
                <a:ext uri="{FF2B5EF4-FFF2-40B4-BE49-F238E27FC236}">
                  <a16:creationId xmlns:a16="http://schemas.microsoft.com/office/drawing/2014/main" id="{8CC944E5-FB11-40E3-9815-AB5FFE2E3B63}"/>
                </a:ext>
              </a:extLst>
            </p:cNvPr>
            <p:cNvCxnSpPr>
              <a:cxnSpLocks/>
              <a:stCxn id="101" idx="0"/>
            </p:cNvCxnSpPr>
            <p:nvPr/>
          </p:nvCxnSpPr>
          <p:spPr>
            <a:xfrm flipV="1">
              <a:off x="406092" y="4006375"/>
              <a:ext cx="39608" cy="4431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5A317DBE-8C69-42C4-8E87-044D6C5CF228}"/>
              </a:ext>
            </a:extLst>
          </p:cNvPr>
          <p:cNvGrpSpPr/>
          <p:nvPr/>
        </p:nvGrpSpPr>
        <p:grpSpPr>
          <a:xfrm>
            <a:off x="7274020" y="1848304"/>
            <a:ext cx="1540212" cy="1127492"/>
            <a:chOff x="-287602" y="4006375"/>
            <a:chExt cx="1540212" cy="1127492"/>
          </a:xfrm>
        </p:grpSpPr>
        <p:sp>
          <p:nvSpPr>
            <p:cNvPr id="111" name="Oval 13">
              <a:extLst>
                <a:ext uri="{FF2B5EF4-FFF2-40B4-BE49-F238E27FC236}">
                  <a16:creationId xmlns:a16="http://schemas.microsoft.com/office/drawing/2014/main" id="{C87F3866-398D-4ED4-AC7E-F131EF49F2D2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11750" y="4449558"/>
              <a:ext cx="388683" cy="323642"/>
            </a:xfrm>
            <a:prstGeom prst="ellipse">
              <a:avLst/>
            </a:prstGeom>
            <a:solidFill>
              <a:srgbClr val="1CADE4">
                <a:alpha val="18039"/>
              </a:srgbClr>
            </a:solidFill>
            <a:ln w="19050">
              <a:solidFill>
                <a:schemeClr val="accent2"/>
              </a:solidFill>
              <a:round/>
              <a:headEnd/>
              <a:tailEnd/>
            </a:ln>
            <a:effectLst>
              <a:outerShdw dist="35921" dir="2700000" algn="ctr" rotWithShape="0">
                <a:schemeClr val="accent1"/>
              </a:outerShdw>
            </a:effectLst>
          </p:spPr>
          <p:txBody>
            <a:bodyPr wrap="none" anchor="ctr"/>
            <a:lstStyle/>
            <a:p>
              <a:endParaRPr lang="en-NZ"/>
            </a:p>
          </p:txBody>
        </p:sp>
        <p:cxnSp>
          <p:nvCxnSpPr>
            <p:cNvPr id="112" name="Straight Arrow Connector 111">
              <a:extLst>
                <a:ext uri="{FF2B5EF4-FFF2-40B4-BE49-F238E27FC236}">
                  <a16:creationId xmlns:a16="http://schemas.microsoft.com/office/drawing/2014/main" id="{4EFD6AD7-9417-4196-B882-B78DE3AF72D6}"/>
                </a:ext>
              </a:extLst>
            </p:cNvPr>
            <p:cNvCxnSpPr/>
            <p:nvPr/>
          </p:nvCxnSpPr>
          <p:spPr>
            <a:xfrm>
              <a:off x="640189" y="4611379"/>
              <a:ext cx="61242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Arrow Connector 112">
              <a:extLst>
                <a:ext uri="{FF2B5EF4-FFF2-40B4-BE49-F238E27FC236}">
                  <a16:creationId xmlns:a16="http://schemas.microsoft.com/office/drawing/2014/main" id="{7FE8F2B7-6DD7-4E96-8A1D-90CAA54F6FE0}"/>
                </a:ext>
              </a:extLst>
            </p:cNvPr>
            <p:cNvCxnSpPr>
              <a:cxnSpLocks/>
              <a:stCxn id="111" idx="5"/>
            </p:cNvCxnSpPr>
            <p:nvPr/>
          </p:nvCxnSpPr>
          <p:spPr>
            <a:xfrm>
              <a:off x="543512" y="4725804"/>
              <a:ext cx="596030" cy="28530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Arrow Connector 113">
              <a:extLst>
                <a:ext uri="{FF2B5EF4-FFF2-40B4-BE49-F238E27FC236}">
                  <a16:creationId xmlns:a16="http://schemas.microsoft.com/office/drawing/2014/main" id="{82BB881E-371C-440F-9B09-281CD25C0CC5}"/>
                </a:ext>
              </a:extLst>
            </p:cNvPr>
            <p:cNvCxnSpPr>
              <a:cxnSpLocks/>
              <a:stCxn id="111" idx="7"/>
            </p:cNvCxnSpPr>
            <p:nvPr/>
          </p:nvCxnSpPr>
          <p:spPr>
            <a:xfrm flipV="1">
              <a:off x="543512" y="4187510"/>
              <a:ext cx="488904" cy="3094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0DD41665-67B5-45E4-829F-D6D1B1AD6F1A}"/>
                </a:ext>
              </a:extLst>
            </p:cNvPr>
            <p:cNvCxnSpPr>
              <a:cxnSpLocks/>
              <a:stCxn id="111" idx="1"/>
            </p:cNvCxnSpPr>
            <p:nvPr/>
          </p:nvCxnSpPr>
          <p:spPr>
            <a:xfrm flipH="1" flipV="1">
              <a:off x="-42490" y="4006375"/>
              <a:ext cx="311161" cy="49057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Arrow Connector 115">
              <a:extLst>
                <a:ext uri="{FF2B5EF4-FFF2-40B4-BE49-F238E27FC236}">
                  <a16:creationId xmlns:a16="http://schemas.microsoft.com/office/drawing/2014/main" id="{94292AC7-B08A-492F-B2F2-EB9BD4F0E7D9}"/>
                </a:ext>
              </a:extLst>
            </p:cNvPr>
            <p:cNvCxnSpPr>
              <a:cxnSpLocks/>
              <a:stCxn id="111" idx="2"/>
            </p:cNvCxnSpPr>
            <p:nvPr/>
          </p:nvCxnSpPr>
          <p:spPr>
            <a:xfrm flipH="1" flipV="1">
              <a:off x="-287602" y="4349333"/>
              <a:ext cx="499352" cy="26204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Arrow Connector 116">
              <a:extLst>
                <a:ext uri="{FF2B5EF4-FFF2-40B4-BE49-F238E27FC236}">
                  <a16:creationId xmlns:a16="http://schemas.microsoft.com/office/drawing/2014/main" id="{14183EBD-E41B-4505-BB0E-5F025681AA0C}"/>
                </a:ext>
              </a:extLst>
            </p:cNvPr>
            <p:cNvCxnSpPr>
              <a:cxnSpLocks/>
              <a:stCxn id="111" idx="4"/>
            </p:cNvCxnSpPr>
            <p:nvPr/>
          </p:nvCxnSpPr>
          <p:spPr>
            <a:xfrm flipH="1">
              <a:off x="352696" y="4773200"/>
              <a:ext cx="53396" cy="36066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Arrow Connector 117">
              <a:extLst>
                <a:ext uri="{FF2B5EF4-FFF2-40B4-BE49-F238E27FC236}">
                  <a16:creationId xmlns:a16="http://schemas.microsoft.com/office/drawing/2014/main" id="{EA17F86D-04C2-4568-AFA9-1CD64F75E03F}"/>
                </a:ext>
              </a:extLst>
            </p:cNvPr>
            <p:cNvCxnSpPr>
              <a:cxnSpLocks/>
              <a:stCxn id="111" idx="3"/>
            </p:cNvCxnSpPr>
            <p:nvPr/>
          </p:nvCxnSpPr>
          <p:spPr>
            <a:xfrm flipH="1">
              <a:off x="-41609" y="4725804"/>
              <a:ext cx="310280" cy="22772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Arrow Connector 118">
              <a:extLst>
                <a:ext uri="{FF2B5EF4-FFF2-40B4-BE49-F238E27FC236}">
                  <a16:creationId xmlns:a16="http://schemas.microsoft.com/office/drawing/2014/main" id="{ACC91214-AE7B-413D-90F6-931592DE1190}"/>
                </a:ext>
              </a:extLst>
            </p:cNvPr>
            <p:cNvCxnSpPr>
              <a:cxnSpLocks/>
              <a:stCxn id="111" idx="0"/>
            </p:cNvCxnSpPr>
            <p:nvPr/>
          </p:nvCxnSpPr>
          <p:spPr>
            <a:xfrm flipV="1">
              <a:off x="406092" y="4006375"/>
              <a:ext cx="39608" cy="44318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0" name="TextBox 119">
            <a:extLst>
              <a:ext uri="{FF2B5EF4-FFF2-40B4-BE49-F238E27FC236}">
                <a16:creationId xmlns:a16="http://schemas.microsoft.com/office/drawing/2014/main" id="{387ED2A2-A651-4CE6-903F-E37937ECEE03}"/>
              </a:ext>
            </a:extLst>
          </p:cNvPr>
          <p:cNvSpPr txBox="1"/>
          <p:nvPr/>
        </p:nvSpPr>
        <p:spPr>
          <a:xfrm>
            <a:off x="9301284" y="1215986"/>
            <a:ext cx="16619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ILLUSTRATIVE ONLY</a:t>
            </a:r>
            <a:endParaRPr lang="en-NZ" sz="1400" dirty="0">
              <a:solidFill>
                <a:srgbClr val="FF0000"/>
              </a:solidFill>
            </a:endParaRPr>
          </a:p>
        </p:txBody>
      </p:sp>
      <p:sp>
        <p:nvSpPr>
          <p:cNvPr id="121" name="Title 5">
            <a:extLst>
              <a:ext uri="{FF2B5EF4-FFF2-40B4-BE49-F238E27FC236}">
                <a16:creationId xmlns:a16="http://schemas.microsoft.com/office/drawing/2014/main" id="{7DFDDA26-8416-4E3A-9DF4-981A0DCE95A1}"/>
              </a:ext>
            </a:extLst>
          </p:cNvPr>
          <p:cNvSpPr txBox="1">
            <a:spLocks noChangeArrowheads="1"/>
          </p:cNvSpPr>
          <p:nvPr/>
        </p:nvSpPr>
        <p:spPr>
          <a:xfrm>
            <a:off x="101756" y="713068"/>
            <a:ext cx="12195991" cy="561975"/>
          </a:xfrm>
          <a:prstGeom prst="rect">
            <a:avLst/>
          </a:prstGeom>
          <a:ln/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sz="2200" dirty="0">
                <a:latin typeface="Franklin Gothic Demi" panose="020B0703020102020204" pitchFamily="34" charset="0"/>
              </a:rPr>
              <a:t>СТРАТЕГИЧЕСКИЕ ХАБЫ ПОДДЕРЖИВАЮТ ЭФФЕКТИВНЫЕ ВОЗДУШНЫЕ ПЕРЕВОЗКИ ГРУЗОВ</a:t>
            </a:r>
          </a:p>
        </p:txBody>
      </p:sp>
      <p:sp>
        <p:nvSpPr>
          <p:cNvPr id="122" name="Content Placeholder 6">
            <a:extLst>
              <a:ext uri="{FF2B5EF4-FFF2-40B4-BE49-F238E27FC236}">
                <a16:creationId xmlns:a16="http://schemas.microsoft.com/office/drawing/2014/main" id="{CC545E82-3F50-455C-8B66-249664C21A98}"/>
              </a:ext>
            </a:extLst>
          </p:cNvPr>
          <p:cNvSpPr txBox="1">
            <a:spLocks noChangeArrowheads="1"/>
          </p:cNvSpPr>
          <p:nvPr/>
        </p:nvSpPr>
        <p:spPr>
          <a:xfrm>
            <a:off x="989074" y="4707924"/>
            <a:ext cx="10885487" cy="815975"/>
          </a:xfrm>
          <a:prstGeom prst="rect">
            <a:avLst/>
          </a:prstGeom>
          <a:solidFill>
            <a:srgbClr val="000000"/>
          </a:solidFill>
          <a:ln/>
          <a:extLs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3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 2" panose="05020102010507070707" pitchFamily="18" charset="2"/>
              <a:buNone/>
            </a:pPr>
            <a:r>
              <a:rPr lang="ru-RU" altLang="ru-RU" sz="1800" b="1" dirty="0">
                <a:solidFill>
                  <a:srgbClr val="F2F2F2"/>
                </a:solidFill>
                <a:latin typeface="Franklin Gothic Book" panose="020B0503020102020204" pitchFamily="34" charset="0"/>
              </a:rPr>
              <a:t>Координация </a:t>
            </a:r>
            <a:r>
              <a:rPr lang="ru-RU" altLang="ru-RU" sz="1800" b="1" dirty="0" err="1">
                <a:solidFill>
                  <a:srgbClr val="F2F2F2"/>
                </a:solidFill>
                <a:latin typeface="Franklin Gothic Book" panose="020B0503020102020204" pitchFamily="34" charset="0"/>
              </a:rPr>
              <a:t>хабов</a:t>
            </a:r>
            <a:r>
              <a:rPr lang="ru-RU" altLang="ru-RU" sz="1800" b="1" dirty="0">
                <a:solidFill>
                  <a:srgbClr val="F2F2F2"/>
                </a:solidFill>
                <a:latin typeface="Franklin Gothic Book" panose="020B0503020102020204" pitchFamily="34" charset="0"/>
              </a:rPr>
              <a:t> воздушного транспорта в ЦАРЭС улучшает доступность и охват для грузовых авиаперевозок</a:t>
            </a:r>
          </a:p>
        </p:txBody>
      </p:sp>
    </p:spTree>
    <p:extLst>
      <p:ext uri="{BB962C8B-B14F-4D97-AF65-F5344CB8AC3E}">
        <p14:creationId xmlns:p14="http://schemas.microsoft.com/office/powerpoint/2010/main" val="5369110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870A1295-61BC-4214-AA3E-D396673024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153A55A-E67F-420C-83C1-A1CDD0DCAD2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317" r="1" b="1"/>
          <a:stretch/>
        </p:blipFill>
        <p:spPr>
          <a:xfrm>
            <a:off x="-3050" y="0"/>
            <a:ext cx="12192001" cy="4201449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0B139475-2B26-4CA9-9413-DE741E49F7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1" y="2941813"/>
            <a:ext cx="12188952" cy="1828800"/>
            <a:chOff x="-305" y="3144820"/>
            <a:chExt cx="9182100" cy="1551136"/>
          </a:xfrm>
        </p:grpSpPr>
        <p:sp useBgFill="1">
          <p:nvSpPr>
            <p:cNvPr id="14" name="Freeform: Shape 13">
              <a:extLst>
                <a:ext uri="{FF2B5EF4-FFF2-40B4-BE49-F238E27FC236}">
                  <a16:creationId xmlns:a16="http://schemas.microsoft.com/office/drawing/2014/main" id="{16C6BF63-6277-4C39-BE5D-3C341662CE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3676854"/>
              <a:ext cx="9182100" cy="1019102"/>
            </a:xfrm>
            <a:custGeom>
              <a:avLst/>
              <a:gdLst>
                <a:gd name="connsiteX0" fmla="*/ 0 w 9182100"/>
                <a:gd name="connsiteY0" fmla="*/ 1019102 h 1019102"/>
                <a:gd name="connsiteX1" fmla="*/ 9182100 w 9182100"/>
                <a:gd name="connsiteY1" fmla="*/ 1019102 h 1019102"/>
                <a:gd name="connsiteX2" fmla="*/ 9182100 w 9182100"/>
                <a:gd name="connsiteY2" fmla="*/ 273009 h 1019102"/>
                <a:gd name="connsiteX3" fmla="*/ 9065895 w 9182100"/>
                <a:gd name="connsiteY3" fmla="*/ 278343 h 1019102"/>
                <a:gd name="connsiteX4" fmla="*/ 8261890 w 9182100"/>
                <a:gd name="connsiteY4" fmla="*/ 257769 h 1019102"/>
                <a:gd name="connsiteX5" fmla="*/ 8038624 w 9182100"/>
                <a:gd name="connsiteY5" fmla="*/ 235956 h 1019102"/>
                <a:gd name="connsiteX6" fmla="*/ 7862221 w 9182100"/>
                <a:gd name="connsiteY6" fmla="*/ 213097 h 1019102"/>
                <a:gd name="connsiteX7" fmla="*/ 6238780 w 9182100"/>
                <a:gd name="connsiteY7" fmla="*/ 126419 h 1019102"/>
                <a:gd name="connsiteX8" fmla="*/ 5828729 w 9182100"/>
                <a:gd name="connsiteY8" fmla="*/ 142421 h 1019102"/>
                <a:gd name="connsiteX9" fmla="*/ 5227606 w 9182100"/>
                <a:gd name="connsiteY9" fmla="*/ 219764 h 1019102"/>
                <a:gd name="connsiteX10" fmla="*/ 4394359 w 9182100"/>
                <a:gd name="connsiteY10" fmla="*/ 190713 h 1019102"/>
                <a:gd name="connsiteX11" fmla="*/ 3789236 w 9182100"/>
                <a:gd name="connsiteY11" fmla="*/ 107655 h 1019102"/>
                <a:gd name="connsiteX12" fmla="*/ 3391567 w 9182100"/>
                <a:gd name="connsiteY12" fmla="*/ 30502 h 1019102"/>
                <a:gd name="connsiteX13" fmla="*/ 2180177 w 9182100"/>
                <a:gd name="connsiteY13" fmla="*/ 67745 h 1019102"/>
                <a:gd name="connsiteX14" fmla="*/ 1543336 w 9182100"/>
                <a:gd name="connsiteY14" fmla="*/ 209953 h 1019102"/>
                <a:gd name="connsiteX15" fmla="*/ 1276731 w 9182100"/>
                <a:gd name="connsiteY15" fmla="*/ 286439 h 1019102"/>
                <a:gd name="connsiteX16" fmla="*/ 441293 w 9182100"/>
                <a:gd name="connsiteY16" fmla="*/ 292345 h 1019102"/>
                <a:gd name="connsiteX17" fmla="*/ 0 w 9182100"/>
                <a:gd name="connsiteY17" fmla="*/ 135563 h 1019102"/>
                <a:gd name="connsiteX18" fmla="*/ 0 w 9182100"/>
                <a:gd name="connsiteY18" fmla="*/ 1019102 h 1019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82100" h="1019102">
                  <a:moveTo>
                    <a:pt x="0" y="1019102"/>
                  </a:moveTo>
                  <a:lnTo>
                    <a:pt x="9182100" y="1019102"/>
                  </a:lnTo>
                  <a:lnTo>
                    <a:pt x="9182100" y="273009"/>
                  </a:lnTo>
                  <a:cubicBezTo>
                    <a:pt x="9143429" y="275485"/>
                    <a:pt x="9104662" y="277200"/>
                    <a:pt x="9065895" y="278343"/>
                  </a:cubicBezTo>
                  <a:cubicBezTo>
                    <a:pt x="8798243" y="285201"/>
                    <a:pt x="8529066" y="277009"/>
                    <a:pt x="8261890" y="257769"/>
                  </a:cubicBezTo>
                  <a:cubicBezTo>
                    <a:pt x="8187024" y="251863"/>
                    <a:pt x="8112443" y="245386"/>
                    <a:pt x="8038624" y="235956"/>
                  </a:cubicBezTo>
                  <a:cubicBezTo>
                    <a:pt x="7980140" y="228051"/>
                    <a:pt x="7920228" y="219002"/>
                    <a:pt x="7862221" y="213097"/>
                  </a:cubicBezTo>
                  <a:cubicBezTo>
                    <a:pt x="7322439" y="159280"/>
                    <a:pt x="6780943" y="130991"/>
                    <a:pt x="6238780" y="126419"/>
                  </a:cubicBezTo>
                  <a:cubicBezTo>
                    <a:pt x="6102477" y="126324"/>
                    <a:pt x="5964745" y="128800"/>
                    <a:pt x="5828729" y="142421"/>
                  </a:cubicBezTo>
                  <a:cubicBezTo>
                    <a:pt x="5624703" y="162328"/>
                    <a:pt x="5429441" y="202048"/>
                    <a:pt x="5227606" y="219764"/>
                  </a:cubicBezTo>
                  <a:cubicBezTo>
                    <a:pt x="4950238" y="245767"/>
                    <a:pt x="4670393" y="228527"/>
                    <a:pt x="4394359" y="190713"/>
                  </a:cubicBezTo>
                  <a:cubicBezTo>
                    <a:pt x="4193381" y="163090"/>
                    <a:pt x="3988880" y="147755"/>
                    <a:pt x="3789236" y="107655"/>
                  </a:cubicBezTo>
                  <a:cubicBezTo>
                    <a:pt x="3660743" y="85271"/>
                    <a:pt x="3520249" y="51648"/>
                    <a:pt x="3391567" y="30502"/>
                  </a:cubicBezTo>
                  <a:cubicBezTo>
                    <a:pt x="2990469" y="-28553"/>
                    <a:pt x="2579370" y="5928"/>
                    <a:pt x="2180177" y="67745"/>
                  </a:cubicBezTo>
                  <a:cubicBezTo>
                    <a:pt x="1965198" y="103273"/>
                    <a:pt x="1751648" y="146136"/>
                    <a:pt x="1543336" y="209953"/>
                  </a:cubicBezTo>
                  <a:cubicBezTo>
                    <a:pt x="1456087" y="238528"/>
                    <a:pt x="1365885" y="264627"/>
                    <a:pt x="1276731" y="286439"/>
                  </a:cubicBezTo>
                  <a:cubicBezTo>
                    <a:pt x="1001173" y="335398"/>
                    <a:pt x="716471" y="346923"/>
                    <a:pt x="441293" y="292345"/>
                  </a:cubicBezTo>
                  <a:cubicBezTo>
                    <a:pt x="285655" y="263198"/>
                    <a:pt x="143923" y="198237"/>
                    <a:pt x="0" y="135563"/>
                  </a:cubicBezTo>
                  <a:lnTo>
                    <a:pt x="0" y="1019102"/>
                  </a:lnTo>
                  <a:close/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EA3BAD9-C130-4A9C-9086-20D132A6CF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3144820"/>
              <a:ext cx="9182100" cy="932744"/>
            </a:xfrm>
            <a:custGeom>
              <a:avLst/>
              <a:gdLst>
                <a:gd name="connsiteX0" fmla="*/ 9182100 w 9182100"/>
                <a:gd name="connsiteY0" fmla="*/ 396420 h 932744"/>
                <a:gd name="connsiteX1" fmla="*/ 9103805 w 9182100"/>
                <a:gd name="connsiteY1" fmla="*/ 392229 h 932744"/>
                <a:gd name="connsiteX2" fmla="*/ 8712422 w 9182100"/>
                <a:gd name="connsiteY2" fmla="*/ 359749 h 932744"/>
                <a:gd name="connsiteX3" fmla="*/ 8322755 w 9182100"/>
                <a:gd name="connsiteY3" fmla="*/ 313362 h 932744"/>
                <a:gd name="connsiteX4" fmla="*/ 8134826 w 9182100"/>
                <a:gd name="connsiteY4" fmla="*/ 283930 h 932744"/>
                <a:gd name="connsiteX5" fmla="*/ 8090916 w 9182100"/>
                <a:gd name="connsiteY5" fmla="*/ 275643 h 932744"/>
                <a:gd name="connsiteX6" fmla="*/ 8069485 w 9182100"/>
                <a:gd name="connsiteY6" fmla="*/ 271262 h 932744"/>
                <a:gd name="connsiteX7" fmla="*/ 8041862 w 9182100"/>
                <a:gd name="connsiteY7" fmla="*/ 266595 h 932744"/>
                <a:gd name="connsiteX8" fmla="*/ 7986903 w 9182100"/>
                <a:gd name="connsiteY8" fmla="*/ 257546 h 932744"/>
                <a:gd name="connsiteX9" fmla="*/ 7934230 w 9182100"/>
                <a:gd name="connsiteY9" fmla="*/ 249640 h 932744"/>
                <a:gd name="connsiteX10" fmla="*/ 7727537 w 9182100"/>
                <a:gd name="connsiteY10" fmla="*/ 221922 h 932744"/>
                <a:gd name="connsiteX11" fmla="*/ 7625239 w 9182100"/>
                <a:gd name="connsiteY11" fmla="*/ 209730 h 932744"/>
                <a:gd name="connsiteX12" fmla="*/ 7523227 w 9182100"/>
                <a:gd name="connsiteY12" fmla="*/ 198110 h 932744"/>
                <a:gd name="connsiteX13" fmla="*/ 7115651 w 9182100"/>
                <a:gd name="connsiteY13" fmla="*/ 158010 h 932744"/>
                <a:gd name="connsiteX14" fmla="*/ 6706839 w 9182100"/>
                <a:gd name="connsiteY14" fmla="*/ 126958 h 932744"/>
                <a:gd name="connsiteX15" fmla="*/ 6604064 w 9182100"/>
                <a:gd name="connsiteY15" fmla="*/ 120862 h 932744"/>
                <a:gd name="connsiteX16" fmla="*/ 6501003 w 9182100"/>
                <a:gd name="connsiteY16" fmla="*/ 115338 h 932744"/>
                <a:gd name="connsiteX17" fmla="*/ 6397467 w 9182100"/>
                <a:gd name="connsiteY17" fmla="*/ 110385 h 932744"/>
                <a:gd name="connsiteX18" fmla="*/ 6293168 w 9182100"/>
                <a:gd name="connsiteY18" fmla="*/ 106860 h 932744"/>
                <a:gd name="connsiteX19" fmla="*/ 6079712 w 9182100"/>
                <a:gd name="connsiteY19" fmla="*/ 103908 h 932744"/>
                <a:gd name="connsiteX20" fmla="*/ 6024563 w 9182100"/>
                <a:gd name="connsiteY20" fmla="*/ 104479 h 932744"/>
                <a:gd name="connsiteX21" fmla="*/ 5968080 w 9182100"/>
                <a:gd name="connsiteY21" fmla="*/ 106479 h 932744"/>
                <a:gd name="connsiteX22" fmla="*/ 5855875 w 9182100"/>
                <a:gd name="connsiteY22" fmla="*/ 113242 h 932744"/>
                <a:gd name="connsiteX23" fmla="*/ 5439251 w 9182100"/>
                <a:gd name="connsiteY23" fmla="*/ 160105 h 932744"/>
                <a:gd name="connsiteX24" fmla="*/ 5075396 w 9182100"/>
                <a:gd name="connsiteY24" fmla="*/ 186585 h 932744"/>
                <a:gd name="connsiteX25" fmla="*/ 4712780 w 9182100"/>
                <a:gd name="connsiteY25" fmla="*/ 171249 h 932744"/>
                <a:gd name="connsiteX26" fmla="*/ 4666679 w 9182100"/>
                <a:gd name="connsiteY26" fmla="*/ 166773 h 932744"/>
                <a:gd name="connsiteX27" fmla="*/ 4620292 w 9182100"/>
                <a:gd name="connsiteY27" fmla="*/ 161629 h 932744"/>
                <a:gd name="connsiteX28" fmla="*/ 4573810 w 9182100"/>
                <a:gd name="connsiteY28" fmla="*/ 156009 h 932744"/>
                <a:gd name="connsiteX29" fmla="*/ 4550569 w 9182100"/>
                <a:gd name="connsiteY29" fmla="*/ 153057 h 932744"/>
                <a:gd name="connsiteX30" fmla="*/ 4538948 w 9182100"/>
                <a:gd name="connsiteY30" fmla="*/ 151628 h 932744"/>
                <a:gd name="connsiteX31" fmla="*/ 4526566 w 9182100"/>
                <a:gd name="connsiteY31" fmla="*/ 149913 h 932744"/>
                <a:gd name="connsiteX32" fmla="*/ 4327779 w 9182100"/>
                <a:gd name="connsiteY32" fmla="*/ 122862 h 932744"/>
                <a:gd name="connsiteX33" fmla="*/ 3929729 w 9182100"/>
                <a:gd name="connsiteY33" fmla="*/ 68189 h 932744"/>
                <a:gd name="connsiteX34" fmla="*/ 3729133 w 9182100"/>
                <a:gd name="connsiteY34" fmla="*/ 41900 h 932744"/>
                <a:gd name="connsiteX35" fmla="*/ 3628930 w 9182100"/>
                <a:gd name="connsiteY35" fmla="*/ 28946 h 932744"/>
                <a:gd name="connsiteX36" fmla="*/ 3573399 w 9182100"/>
                <a:gd name="connsiteY36" fmla="*/ 22278 h 932744"/>
                <a:gd name="connsiteX37" fmla="*/ 3516916 w 9182100"/>
                <a:gd name="connsiteY37" fmla="*/ 16468 h 932744"/>
                <a:gd name="connsiteX38" fmla="*/ 3074670 w 9182100"/>
                <a:gd name="connsiteY38" fmla="*/ 752 h 932744"/>
                <a:gd name="connsiteX39" fmla="*/ 2858738 w 9182100"/>
                <a:gd name="connsiteY39" fmla="*/ 8753 h 932744"/>
                <a:gd name="connsiteX40" fmla="*/ 2645474 w 9182100"/>
                <a:gd name="connsiteY40" fmla="*/ 25326 h 932744"/>
                <a:gd name="connsiteX41" fmla="*/ 1810798 w 9182100"/>
                <a:gd name="connsiteY41" fmla="*/ 158010 h 932744"/>
                <a:gd name="connsiteX42" fmla="*/ 1602772 w 9182100"/>
                <a:gd name="connsiteY42" fmla="*/ 208111 h 932744"/>
                <a:gd name="connsiteX43" fmla="*/ 1548860 w 9182100"/>
                <a:gd name="connsiteY43" fmla="*/ 222780 h 932744"/>
                <a:gd name="connsiteX44" fmla="*/ 1501331 w 9182100"/>
                <a:gd name="connsiteY44" fmla="*/ 236115 h 932744"/>
                <a:gd name="connsiteX45" fmla="*/ 1411224 w 9182100"/>
                <a:gd name="connsiteY45" fmla="*/ 260880 h 932744"/>
                <a:gd name="connsiteX46" fmla="*/ 1050893 w 9182100"/>
                <a:gd name="connsiteY46" fmla="*/ 338032 h 932744"/>
                <a:gd name="connsiteX47" fmla="*/ 871252 w 9182100"/>
                <a:gd name="connsiteY47" fmla="*/ 360511 h 932744"/>
                <a:gd name="connsiteX48" fmla="*/ 781812 w 9182100"/>
                <a:gd name="connsiteY48" fmla="*/ 366512 h 932744"/>
                <a:gd name="connsiteX49" fmla="*/ 692563 w 9182100"/>
                <a:gd name="connsiteY49" fmla="*/ 369655 h 932744"/>
                <a:gd name="connsiteX50" fmla="*/ 515017 w 9182100"/>
                <a:gd name="connsiteY50" fmla="*/ 363940 h 932744"/>
                <a:gd name="connsiteX51" fmla="*/ 337661 w 9182100"/>
                <a:gd name="connsiteY51" fmla="*/ 341937 h 932744"/>
                <a:gd name="connsiteX52" fmla="*/ 156972 w 9182100"/>
                <a:gd name="connsiteY52" fmla="*/ 303456 h 932744"/>
                <a:gd name="connsiteX53" fmla="*/ 0 w 9182100"/>
                <a:gd name="connsiteY53" fmla="*/ 261642 h 932744"/>
                <a:gd name="connsiteX54" fmla="*/ 0 w 9182100"/>
                <a:gd name="connsiteY54" fmla="*/ 713412 h 932744"/>
                <a:gd name="connsiteX55" fmla="*/ 9144 w 9182100"/>
                <a:gd name="connsiteY55" fmla="*/ 717699 h 932744"/>
                <a:gd name="connsiteX56" fmla="*/ 213360 w 9182100"/>
                <a:gd name="connsiteY56" fmla="*/ 801042 h 932744"/>
                <a:gd name="connsiteX57" fmla="*/ 653510 w 9182100"/>
                <a:gd name="connsiteY57" fmla="*/ 908199 h 932744"/>
                <a:gd name="connsiteX58" fmla="*/ 1101947 w 9182100"/>
                <a:gd name="connsiteY58" fmla="*/ 930773 h 932744"/>
                <a:gd name="connsiteX59" fmla="*/ 1540002 w 9182100"/>
                <a:gd name="connsiteY59" fmla="*/ 889434 h 932744"/>
                <a:gd name="connsiteX60" fmla="*/ 1647158 w 9182100"/>
                <a:gd name="connsiteY60" fmla="*/ 871242 h 932744"/>
                <a:gd name="connsiteX61" fmla="*/ 1698117 w 9182100"/>
                <a:gd name="connsiteY61" fmla="*/ 862193 h 932744"/>
                <a:gd name="connsiteX62" fmla="*/ 1742789 w 9182100"/>
                <a:gd name="connsiteY62" fmla="*/ 854668 h 932744"/>
                <a:gd name="connsiteX63" fmla="*/ 1931003 w 9182100"/>
                <a:gd name="connsiteY63" fmla="*/ 826950 h 932744"/>
                <a:gd name="connsiteX64" fmla="*/ 2314861 w 9182100"/>
                <a:gd name="connsiteY64" fmla="*/ 783897 h 932744"/>
                <a:gd name="connsiteX65" fmla="*/ 2506885 w 9182100"/>
                <a:gd name="connsiteY65" fmla="*/ 768086 h 932744"/>
                <a:gd name="connsiteX66" fmla="*/ 2602611 w 9182100"/>
                <a:gd name="connsiteY66" fmla="*/ 762085 h 932744"/>
                <a:gd name="connsiteX67" fmla="*/ 2698052 w 9182100"/>
                <a:gd name="connsiteY67" fmla="*/ 756846 h 932744"/>
                <a:gd name="connsiteX68" fmla="*/ 2887980 w 9182100"/>
                <a:gd name="connsiteY68" fmla="*/ 750846 h 932744"/>
                <a:gd name="connsiteX69" fmla="*/ 3075813 w 9182100"/>
                <a:gd name="connsiteY69" fmla="*/ 750179 h 932744"/>
                <a:gd name="connsiteX70" fmla="*/ 3168587 w 9182100"/>
                <a:gd name="connsiteY70" fmla="*/ 752751 h 932744"/>
                <a:gd name="connsiteX71" fmla="*/ 3260408 w 9182100"/>
                <a:gd name="connsiteY71" fmla="*/ 756656 h 932744"/>
                <a:gd name="connsiteX72" fmla="*/ 3440049 w 9182100"/>
                <a:gd name="connsiteY72" fmla="*/ 771610 h 932744"/>
                <a:gd name="connsiteX73" fmla="*/ 3483864 w 9182100"/>
                <a:gd name="connsiteY73" fmla="*/ 776849 h 932744"/>
                <a:gd name="connsiteX74" fmla="*/ 3528536 w 9182100"/>
                <a:gd name="connsiteY74" fmla="*/ 782469 h 932744"/>
                <a:gd name="connsiteX75" fmla="*/ 3628549 w 9182100"/>
                <a:gd name="connsiteY75" fmla="*/ 796089 h 932744"/>
                <a:gd name="connsiteX76" fmla="*/ 3828574 w 9182100"/>
                <a:gd name="connsiteY76" fmla="*/ 823140 h 932744"/>
                <a:gd name="connsiteX77" fmla="*/ 4231196 w 9182100"/>
                <a:gd name="connsiteY77" fmla="*/ 874099 h 932744"/>
                <a:gd name="connsiteX78" fmla="*/ 4433126 w 9182100"/>
                <a:gd name="connsiteY78" fmla="*/ 897435 h 932744"/>
                <a:gd name="connsiteX79" fmla="*/ 4485990 w 9182100"/>
                <a:gd name="connsiteY79" fmla="*/ 903246 h 932744"/>
                <a:gd name="connsiteX80" fmla="*/ 4539806 w 9182100"/>
                <a:gd name="connsiteY80" fmla="*/ 908961 h 932744"/>
                <a:gd name="connsiteX81" fmla="*/ 4593908 w 9182100"/>
                <a:gd name="connsiteY81" fmla="*/ 914199 h 932744"/>
                <a:gd name="connsiteX82" fmla="*/ 4648296 w 9182100"/>
                <a:gd name="connsiteY82" fmla="*/ 918771 h 932744"/>
                <a:gd name="connsiteX83" fmla="*/ 5092446 w 9182100"/>
                <a:gd name="connsiteY83" fmla="*/ 931154 h 932744"/>
                <a:gd name="connsiteX84" fmla="*/ 5533168 w 9182100"/>
                <a:gd name="connsiteY84" fmla="*/ 891816 h 932744"/>
                <a:gd name="connsiteX85" fmla="*/ 5918169 w 9182100"/>
                <a:gd name="connsiteY85" fmla="*/ 840666 h 932744"/>
                <a:gd name="connsiteX86" fmla="*/ 6007323 w 9182100"/>
                <a:gd name="connsiteY86" fmla="*/ 833237 h 932744"/>
                <a:gd name="connsiteX87" fmla="*/ 6051709 w 9182100"/>
                <a:gd name="connsiteY87" fmla="*/ 830570 h 932744"/>
                <a:gd name="connsiteX88" fmla="*/ 6097429 w 9182100"/>
                <a:gd name="connsiteY88" fmla="*/ 828379 h 932744"/>
                <a:gd name="connsiteX89" fmla="*/ 6287834 w 9182100"/>
                <a:gd name="connsiteY89" fmla="*/ 822569 h 932744"/>
                <a:gd name="connsiteX90" fmla="*/ 6681597 w 9182100"/>
                <a:gd name="connsiteY90" fmla="*/ 821235 h 932744"/>
                <a:gd name="connsiteX91" fmla="*/ 7079647 w 9182100"/>
                <a:gd name="connsiteY91" fmla="*/ 826569 h 932744"/>
                <a:gd name="connsiteX92" fmla="*/ 7478173 w 9182100"/>
                <a:gd name="connsiteY92" fmla="*/ 836094 h 932744"/>
                <a:gd name="connsiteX93" fmla="*/ 7871937 w 9182100"/>
                <a:gd name="connsiteY93" fmla="*/ 851430 h 932744"/>
                <a:gd name="connsiteX94" fmla="*/ 7919657 w 9182100"/>
                <a:gd name="connsiteY94" fmla="*/ 854097 h 932744"/>
                <a:gd name="connsiteX95" fmla="*/ 7964901 w 9182100"/>
                <a:gd name="connsiteY95" fmla="*/ 857240 h 932744"/>
                <a:gd name="connsiteX96" fmla="*/ 8015955 w 9182100"/>
                <a:gd name="connsiteY96" fmla="*/ 861050 h 932744"/>
                <a:gd name="connsiteX97" fmla="*/ 8072247 w 9182100"/>
                <a:gd name="connsiteY97" fmla="*/ 864384 h 932744"/>
                <a:gd name="connsiteX98" fmla="*/ 8286750 w 9182100"/>
                <a:gd name="connsiteY98" fmla="*/ 868384 h 932744"/>
                <a:gd name="connsiteX99" fmla="*/ 8704040 w 9182100"/>
                <a:gd name="connsiteY99" fmla="*/ 853716 h 932744"/>
                <a:gd name="connsiteX100" fmla="*/ 9120188 w 9182100"/>
                <a:gd name="connsiteY100" fmla="*/ 814092 h 932744"/>
                <a:gd name="connsiteX101" fmla="*/ 9181909 w 9182100"/>
                <a:gd name="connsiteY101" fmla="*/ 805519 h 932744"/>
                <a:gd name="connsiteX102" fmla="*/ 9181909 w 9182100"/>
                <a:gd name="connsiteY102" fmla="*/ 396420 h 93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9182100" h="932744">
                  <a:moveTo>
                    <a:pt x="9182100" y="396420"/>
                  </a:moveTo>
                  <a:cubicBezTo>
                    <a:pt x="9156097" y="395182"/>
                    <a:pt x="9129999" y="393753"/>
                    <a:pt x="9103805" y="392229"/>
                  </a:cubicBezTo>
                  <a:cubicBezTo>
                    <a:pt x="8974169" y="384419"/>
                    <a:pt x="8843105" y="372989"/>
                    <a:pt x="8712422" y="359749"/>
                  </a:cubicBezTo>
                  <a:cubicBezTo>
                    <a:pt x="8581739" y="346319"/>
                    <a:pt x="8451056" y="331269"/>
                    <a:pt x="8322755" y="313362"/>
                  </a:cubicBezTo>
                  <a:cubicBezTo>
                    <a:pt x="8258747" y="304695"/>
                    <a:pt x="8195120" y="294979"/>
                    <a:pt x="8134826" y="283930"/>
                  </a:cubicBezTo>
                  <a:cubicBezTo>
                    <a:pt x="8119872" y="281168"/>
                    <a:pt x="8105013" y="278501"/>
                    <a:pt x="8090916" y="275643"/>
                  </a:cubicBezTo>
                  <a:lnTo>
                    <a:pt x="8069485" y="271262"/>
                  </a:lnTo>
                  <a:lnTo>
                    <a:pt x="8041862" y="266595"/>
                  </a:lnTo>
                  <a:cubicBezTo>
                    <a:pt x="8023574" y="263547"/>
                    <a:pt x="8004524" y="260213"/>
                    <a:pt x="7986903" y="257546"/>
                  </a:cubicBezTo>
                  <a:lnTo>
                    <a:pt x="7934230" y="249640"/>
                  </a:lnTo>
                  <a:cubicBezTo>
                    <a:pt x="7864221" y="239258"/>
                    <a:pt x="7795832" y="230209"/>
                    <a:pt x="7727537" y="221922"/>
                  </a:cubicBezTo>
                  <a:lnTo>
                    <a:pt x="7625239" y="209730"/>
                  </a:lnTo>
                  <a:lnTo>
                    <a:pt x="7523227" y="198110"/>
                  </a:lnTo>
                  <a:cubicBezTo>
                    <a:pt x="7387209" y="183060"/>
                    <a:pt x="7251573" y="170392"/>
                    <a:pt x="7115651" y="158010"/>
                  </a:cubicBezTo>
                  <a:cubicBezTo>
                    <a:pt x="6979730" y="146580"/>
                    <a:pt x="6843522" y="135721"/>
                    <a:pt x="6706839" y="126958"/>
                  </a:cubicBezTo>
                  <a:lnTo>
                    <a:pt x="6604064" y="120862"/>
                  </a:lnTo>
                  <a:cubicBezTo>
                    <a:pt x="6569869" y="118767"/>
                    <a:pt x="6535484" y="116862"/>
                    <a:pt x="6501003" y="115338"/>
                  </a:cubicBezTo>
                  <a:lnTo>
                    <a:pt x="6397467" y="110385"/>
                  </a:lnTo>
                  <a:lnTo>
                    <a:pt x="6293168" y="106860"/>
                  </a:lnTo>
                  <a:cubicBezTo>
                    <a:pt x="6222969" y="105146"/>
                    <a:pt x="6152769" y="103527"/>
                    <a:pt x="6079712" y="103908"/>
                  </a:cubicBezTo>
                  <a:cubicBezTo>
                    <a:pt x="6061710" y="103908"/>
                    <a:pt x="6043708" y="103812"/>
                    <a:pt x="6024563" y="104479"/>
                  </a:cubicBezTo>
                  <a:cubicBezTo>
                    <a:pt x="6005703" y="104955"/>
                    <a:pt x="5986844" y="105527"/>
                    <a:pt x="5968080" y="106479"/>
                  </a:cubicBezTo>
                  <a:cubicBezTo>
                    <a:pt x="5930456" y="108003"/>
                    <a:pt x="5893023" y="110385"/>
                    <a:pt x="5855875" y="113242"/>
                  </a:cubicBezTo>
                  <a:cubicBezTo>
                    <a:pt x="5706904" y="124577"/>
                    <a:pt x="5565934" y="145151"/>
                    <a:pt x="5439251" y="160105"/>
                  </a:cubicBezTo>
                  <a:cubicBezTo>
                    <a:pt x="5311902" y="175536"/>
                    <a:pt x="5194745" y="184680"/>
                    <a:pt x="5075396" y="186585"/>
                  </a:cubicBezTo>
                  <a:cubicBezTo>
                    <a:pt x="4956429" y="188490"/>
                    <a:pt x="4835748" y="182775"/>
                    <a:pt x="4712780" y="171249"/>
                  </a:cubicBezTo>
                  <a:lnTo>
                    <a:pt x="4666679" y="166773"/>
                  </a:lnTo>
                  <a:lnTo>
                    <a:pt x="4620292" y="161629"/>
                  </a:lnTo>
                  <a:cubicBezTo>
                    <a:pt x="4604862" y="160010"/>
                    <a:pt x="4589336" y="157914"/>
                    <a:pt x="4573810" y="156009"/>
                  </a:cubicBezTo>
                  <a:lnTo>
                    <a:pt x="4550569" y="153057"/>
                  </a:lnTo>
                  <a:lnTo>
                    <a:pt x="4538948" y="151628"/>
                  </a:lnTo>
                  <a:lnTo>
                    <a:pt x="4526566" y="149913"/>
                  </a:lnTo>
                  <a:lnTo>
                    <a:pt x="4327779" y="122862"/>
                  </a:lnTo>
                  <a:lnTo>
                    <a:pt x="3929729" y="68189"/>
                  </a:lnTo>
                  <a:lnTo>
                    <a:pt x="3729133" y="41900"/>
                  </a:lnTo>
                  <a:lnTo>
                    <a:pt x="3628930" y="28946"/>
                  </a:lnTo>
                  <a:lnTo>
                    <a:pt x="3573399" y="22278"/>
                  </a:lnTo>
                  <a:cubicBezTo>
                    <a:pt x="3554445" y="19992"/>
                    <a:pt x="3535585" y="17992"/>
                    <a:pt x="3516916" y="16468"/>
                  </a:cubicBezTo>
                  <a:cubicBezTo>
                    <a:pt x="3366611" y="2752"/>
                    <a:pt x="3219736" y="-2010"/>
                    <a:pt x="3074670" y="752"/>
                  </a:cubicBezTo>
                  <a:cubicBezTo>
                    <a:pt x="3002280" y="2181"/>
                    <a:pt x="2930176" y="4467"/>
                    <a:pt x="2858738" y="8753"/>
                  </a:cubicBezTo>
                  <a:cubicBezTo>
                    <a:pt x="2787206" y="13039"/>
                    <a:pt x="2716149" y="18754"/>
                    <a:pt x="2645474" y="25326"/>
                  </a:cubicBezTo>
                  <a:cubicBezTo>
                    <a:pt x="2362581" y="52473"/>
                    <a:pt x="2085975" y="97145"/>
                    <a:pt x="1810798" y="158010"/>
                  </a:cubicBezTo>
                  <a:cubicBezTo>
                    <a:pt x="1741837" y="173345"/>
                    <a:pt x="1673066" y="189442"/>
                    <a:pt x="1602772" y="208111"/>
                  </a:cubicBezTo>
                  <a:lnTo>
                    <a:pt x="1548860" y="222780"/>
                  </a:lnTo>
                  <a:lnTo>
                    <a:pt x="1501331" y="236115"/>
                  </a:lnTo>
                  <a:cubicBezTo>
                    <a:pt x="1471327" y="244497"/>
                    <a:pt x="1441228" y="253450"/>
                    <a:pt x="1411224" y="260880"/>
                  </a:cubicBezTo>
                  <a:cubicBezTo>
                    <a:pt x="1291209" y="293074"/>
                    <a:pt x="1170813" y="318982"/>
                    <a:pt x="1050893" y="338032"/>
                  </a:cubicBezTo>
                  <a:cubicBezTo>
                    <a:pt x="990790" y="347557"/>
                    <a:pt x="931069" y="354796"/>
                    <a:pt x="871252" y="360511"/>
                  </a:cubicBezTo>
                  <a:cubicBezTo>
                    <a:pt x="841438" y="362702"/>
                    <a:pt x="811530" y="365559"/>
                    <a:pt x="781812" y="366512"/>
                  </a:cubicBezTo>
                  <a:cubicBezTo>
                    <a:pt x="751904" y="368512"/>
                    <a:pt x="722376" y="368893"/>
                    <a:pt x="692563" y="369655"/>
                  </a:cubicBezTo>
                  <a:cubicBezTo>
                    <a:pt x="633222" y="370036"/>
                    <a:pt x="574167" y="368131"/>
                    <a:pt x="515017" y="363940"/>
                  </a:cubicBezTo>
                  <a:cubicBezTo>
                    <a:pt x="455867" y="359749"/>
                    <a:pt x="397097" y="351748"/>
                    <a:pt x="337661" y="341937"/>
                  </a:cubicBezTo>
                  <a:cubicBezTo>
                    <a:pt x="278225" y="331936"/>
                    <a:pt x="218599" y="318696"/>
                    <a:pt x="156972" y="303456"/>
                  </a:cubicBezTo>
                  <a:cubicBezTo>
                    <a:pt x="106680" y="290883"/>
                    <a:pt x="55150" y="276405"/>
                    <a:pt x="0" y="261642"/>
                  </a:cubicBezTo>
                  <a:lnTo>
                    <a:pt x="0" y="713412"/>
                  </a:lnTo>
                  <a:cubicBezTo>
                    <a:pt x="3048" y="714841"/>
                    <a:pt x="6096" y="716270"/>
                    <a:pt x="9144" y="717699"/>
                  </a:cubicBezTo>
                  <a:cubicBezTo>
                    <a:pt x="74295" y="747798"/>
                    <a:pt x="142875" y="775896"/>
                    <a:pt x="213360" y="801042"/>
                  </a:cubicBezTo>
                  <a:cubicBezTo>
                    <a:pt x="354521" y="851715"/>
                    <a:pt x="503873" y="887244"/>
                    <a:pt x="653510" y="908199"/>
                  </a:cubicBezTo>
                  <a:cubicBezTo>
                    <a:pt x="803338" y="928773"/>
                    <a:pt x="953929" y="935631"/>
                    <a:pt x="1101947" y="930773"/>
                  </a:cubicBezTo>
                  <a:cubicBezTo>
                    <a:pt x="1250252" y="926582"/>
                    <a:pt x="1396365" y="911437"/>
                    <a:pt x="1540002" y="889434"/>
                  </a:cubicBezTo>
                  <a:cubicBezTo>
                    <a:pt x="1576197" y="884386"/>
                    <a:pt x="1611535" y="877433"/>
                    <a:pt x="1647158" y="871242"/>
                  </a:cubicBezTo>
                  <a:lnTo>
                    <a:pt x="1698117" y="862193"/>
                  </a:lnTo>
                  <a:lnTo>
                    <a:pt x="1742789" y="854668"/>
                  </a:lnTo>
                  <a:cubicBezTo>
                    <a:pt x="1804035" y="845048"/>
                    <a:pt x="1867472" y="835428"/>
                    <a:pt x="1931003" y="826950"/>
                  </a:cubicBezTo>
                  <a:cubicBezTo>
                    <a:pt x="2058353" y="810282"/>
                    <a:pt x="2186750" y="795327"/>
                    <a:pt x="2314861" y="783897"/>
                  </a:cubicBezTo>
                  <a:cubicBezTo>
                    <a:pt x="2378964" y="778087"/>
                    <a:pt x="2442972" y="772467"/>
                    <a:pt x="2506885" y="768086"/>
                  </a:cubicBezTo>
                  <a:cubicBezTo>
                    <a:pt x="2538794" y="765990"/>
                    <a:pt x="2570798" y="763800"/>
                    <a:pt x="2602611" y="762085"/>
                  </a:cubicBezTo>
                  <a:cubicBezTo>
                    <a:pt x="2634520" y="760180"/>
                    <a:pt x="2666333" y="758370"/>
                    <a:pt x="2698052" y="756846"/>
                  </a:cubicBezTo>
                  <a:cubicBezTo>
                    <a:pt x="2761583" y="753894"/>
                    <a:pt x="2825020" y="751703"/>
                    <a:pt x="2887980" y="750846"/>
                  </a:cubicBezTo>
                  <a:cubicBezTo>
                    <a:pt x="2951036" y="749417"/>
                    <a:pt x="3013615" y="749322"/>
                    <a:pt x="3075813" y="750179"/>
                  </a:cubicBezTo>
                  <a:cubicBezTo>
                    <a:pt x="3106865" y="750846"/>
                    <a:pt x="3137916" y="751417"/>
                    <a:pt x="3168587" y="752751"/>
                  </a:cubicBezTo>
                  <a:cubicBezTo>
                    <a:pt x="3199448" y="753703"/>
                    <a:pt x="3229928" y="755227"/>
                    <a:pt x="3260408" y="756656"/>
                  </a:cubicBezTo>
                  <a:cubicBezTo>
                    <a:pt x="3320987" y="760466"/>
                    <a:pt x="3381470" y="764562"/>
                    <a:pt x="3440049" y="771610"/>
                  </a:cubicBezTo>
                  <a:cubicBezTo>
                    <a:pt x="3454908" y="773039"/>
                    <a:pt x="3469386" y="775039"/>
                    <a:pt x="3483864" y="776849"/>
                  </a:cubicBezTo>
                  <a:lnTo>
                    <a:pt x="3528536" y="782469"/>
                  </a:lnTo>
                  <a:lnTo>
                    <a:pt x="3628549" y="796089"/>
                  </a:lnTo>
                  <a:lnTo>
                    <a:pt x="3828574" y="823140"/>
                  </a:lnTo>
                  <a:cubicBezTo>
                    <a:pt x="3962019" y="840190"/>
                    <a:pt x="4095750" y="858573"/>
                    <a:pt x="4231196" y="874099"/>
                  </a:cubicBezTo>
                  <a:lnTo>
                    <a:pt x="4433126" y="897435"/>
                  </a:lnTo>
                  <a:lnTo>
                    <a:pt x="4485990" y="903246"/>
                  </a:lnTo>
                  <a:cubicBezTo>
                    <a:pt x="4503897" y="905151"/>
                    <a:pt x="4521708" y="907341"/>
                    <a:pt x="4539806" y="908961"/>
                  </a:cubicBezTo>
                  <a:lnTo>
                    <a:pt x="4593908" y="914199"/>
                  </a:lnTo>
                  <a:lnTo>
                    <a:pt x="4648296" y="918771"/>
                  </a:lnTo>
                  <a:cubicBezTo>
                    <a:pt x="4793456" y="930392"/>
                    <a:pt x="4942237" y="935631"/>
                    <a:pt x="5092446" y="931154"/>
                  </a:cubicBezTo>
                  <a:cubicBezTo>
                    <a:pt x="5242274" y="927249"/>
                    <a:pt x="5393627" y="911437"/>
                    <a:pt x="5533168" y="891816"/>
                  </a:cubicBezTo>
                  <a:cubicBezTo>
                    <a:pt x="5673471" y="872289"/>
                    <a:pt x="5798820" y="851906"/>
                    <a:pt x="5918169" y="840666"/>
                  </a:cubicBezTo>
                  <a:cubicBezTo>
                    <a:pt x="5948077" y="837809"/>
                    <a:pt x="5977795" y="835237"/>
                    <a:pt x="6007323" y="833237"/>
                  </a:cubicBezTo>
                  <a:cubicBezTo>
                    <a:pt x="6022086" y="832094"/>
                    <a:pt x="6036945" y="831332"/>
                    <a:pt x="6051709" y="830570"/>
                  </a:cubicBezTo>
                  <a:lnTo>
                    <a:pt x="6097429" y="828379"/>
                  </a:lnTo>
                  <a:cubicBezTo>
                    <a:pt x="6158960" y="825236"/>
                    <a:pt x="6223445" y="823807"/>
                    <a:pt x="6287834" y="822569"/>
                  </a:cubicBezTo>
                  <a:cubicBezTo>
                    <a:pt x="6417374" y="820664"/>
                    <a:pt x="6549485" y="820188"/>
                    <a:pt x="6681597" y="821235"/>
                  </a:cubicBezTo>
                  <a:cubicBezTo>
                    <a:pt x="6813899" y="822378"/>
                    <a:pt x="6946773" y="823617"/>
                    <a:pt x="7079647" y="826569"/>
                  </a:cubicBezTo>
                  <a:cubicBezTo>
                    <a:pt x="7212520" y="828951"/>
                    <a:pt x="7345585" y="831903"/>
                    <a:pt x="7478173" y="836094"/>
                  </a:cubicBezTo>
                  <a:cubicBezTo>
                    <a:pt x="7610475" y="839714"/>
                    <a:pt x="7743539" y="844953"/>
                    <a:pt x="7871937" y="851430"/>
                  </a:cubicBezTo>
                  <a:lnTo>
                    <a:pt x="7919657" y="854097"/>
                  </a:lnTo>
                  <a:cubicBezTo>
                    <a:pt x="7935564" y="854954"/>
                    <a:pt x="7949756" y="856192"/>
                    <a:pt x="7964901" y="857240"/>
                  </a:cubicBezTo>
                  <a:lnTo>
                    <a:pt x="8015955" y="861050"/>
                  </a:lnTo>
                  <a:cubicBezTo>
                    <a:pt x="8035195" y="862383"/>
                    <a:pt x="8053769" y="863622"/>
                    <a:pt x="8072247" y="864384"/>
                  </a:cubicBezTo>
                  <a:cubicBezTo>
                    <a:pt x="8145780" y="867527"/>
                    <a:pt x="8216456" y="868479"/>
                    <a:pt x="8286750" y="868384"/>
                  </a:cubicBezTo>
                  <a:cubicBezTo>
                    <a:pt x="8427148" y="867527"/>
                    <a:pt x="8565452" y="862574"/>
                    <a:pt x="8704040" y="853716"/>
                  </a:cubicBezTo>
                  <a:cubicBezTo>
                    <a:pt x="8842534" y="844762"/>
                    <a:pt x="8980741" y="832284"/>
                    <a:pt x="9120188" y="814092"/>
                  </a:cubicBezTo>
                  <a:cubicBezTo>
                    <a:pt x="9140761" y="811425"/>
                    <a:pt x="9161336" y="808567"/>
                    <a:pt x="9181909" y="805519"/>
                  </a:cubicBezTo>
                  <a:lnTo>
                    <a:pt x="9181909" y="396420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587D38B-9E07-4A8B-B285-5FEBF6A60D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3580789"/>
              <a:ext cx="9182100" cy="544245"/>
            </a:xfrm>
            <a:custGeom>
              <a:avLst/>
              <a:gdLst>
                <a:gd name="connsiteX0" fmla="*/ 9182100 w 9182100"/>
                <a:gd name="connsiteY0" fmla="*/ 154189 h 544245"/>
                <a:gd name="connsiteX1" fmla="*/ 9047702 w 9182100"/>
                <a:gd name="connsiteY1" fmla="*/ 162762 h 544245"/>
                <a:gd name="connsiteX2" fmla="*/ 8652224 w 9182100"/>
                <a:gd name="connsiteY2" fmla="*/ 178287 h 544245"/>
                <a:gd name="connsiteX3" fmla="*/ 8255603 w 9182100"/>
                <a:gd name="connsiteY3" fmla="*/ 161047 h 544245"/>
                <a:gd name="connsiteX4" fmla="*/ 8060722 w 9182100"/>
                <a:gd name="connsiteY4" fmla="*/ 140854 h 544245"/>
                <a:gd name="connsiteX5" fmla="*/ 8013478 w 9182100"/>
                <a:gd name="connsiteY5" fmla="*/ 134187 h 544245"/>
                <a:gd name="connsiteX6" fmla="*/ 7990428 w 9182100"/>
                <a:gd name="connsiteY6" fmla="*/ 130567 h 544245"/>
                <a:gd name="connsiteX7" fmla="*/ 7964139 w 9182100"/>
                <a:gd name="connsiteY7" fmla="*/ 126853 h 544245"/>
                <a:gd name="connsiteX8" fmla="*/ 7911656 w 9182100"/>
                <a:gd name="connsiteY8" fmla="*/ 119518 h 544245"/>
                <a:gd name="connsiteX9" fmla="*/ 7860220 w 9182100"/>
                <a:gd name="connsiteY9" fmla="*/ 113232 h 544245"/>
                <a:gd name="connsiteX10" fmla="*/ 7453884 w 9182100"/>
                <a:gd name="connsiteY10" fmla="*/ 70369 h 544245"/>
                <a:gd name="connsiteX11" fmla="*/ 7048976 w 9182100"/>
                <a:gd name="connsiteY11" fmla="*/ 36556 h 544245"/>
                <a:gd name="connsiteX12" fmla="*/ 6846285 w 9182100"/>
                <a:gd name="connsiteY12" fmla="*/ 22649 h 544245"/>
                <a:gd name="connsiteX13" fmla="*/ 6643212 w 9182100"/>
                <a:gd name="connsiteY13" fmla="*/ 11600 h 544245"/>
                <a:gd name="connsiteX14" fmla="*/ 6541485 w 9182100"/>
                <a:gd name="connsiteY14" fmla="*/ 7314 h 544245"/>
                <a:gd name="connsiteX15" fmla="*/ 6439567 w 9182100"/>
                <a:gd name="connsiteY15" fmla="*/ 3885 h 544245"/>
                <a:gd name="connsiteX16" fmla="*/ 6337459 w 9182100"/>
                <a:gd name="connsiteY16" fmla="*/ 1313 h 544245"/>
                <a:gd name="connsiteX17" fmla="*/ 6234970 w 9182100"/>
                <a:gd name="connsiteY17" fmla="*/ 75 h 544245"/>
                <a:gd name="connsiteX18" fmla="*/ 6027802 w 9182100"/>
                <a:gd name="connsiteY18" fmla="*/ 2265 h 544245"/>
                <a:gd name="connsiteX19" fmla="*/ 5921978 w 9182100"/>
                <a:gd name="connsiteY19" fmla="*/ 6552 h 544245"/>
                <a:gd name="connsiteX20" fmla="*/ 5815965 w 9182100"/>
                <a:gd name="connsiteY20" fmla="*/ 14362 h 544245"/>
                <a:gd name="connsiteX21" fmla="*/ 5408390 w 9182100"/>
                <a:gd name="connsiteY21" fmla="*/ 67036 h 544245"/>
                <a:gd name="connsiteX22" fmla="*/ 5023866 w 9182100"/>
                <a:gd name="connsiteY22" fmla="*/ 103992 h 544245"/>
                <a:gd name="connsiteX23" fmla="*/ 4831556 w 9182100"/>
                <a:gd name="connsiteY23" fmla="*/ 106374 h 544245"/>
                <a:gd name="connsiteX24" fmla="*/ 4637723 w 9182100"/>
                <a:gd name="connsiteY24" fmla="*/ 98754 h 544245"/>
                <a:gd name="connsiteX25" fmla="*/ 4442460 w 9182100"/>
                <a:gd name="connsiteY25" fmla="*/ 83038 h 544245"/>
                <a:gd name="connsiteX26" fmla="*/ 4341686 w 9182100"/>
                <a:gd name="connsiteY26" fmla="*/ 77227 h 544245"/>
                <a:gd name="connsiteX27" fmla="*/ 4241006 w 9182100"/>
                <a:gd name="connsiteY27" fmla="*/ 71989 h 544245"/>
                <a:gd name="connsiteX28" fmla="*/ 3836956 w 9182100"/>
                <a:gd name="connsiteY28" fmla="*/ 54177 h 544245"/>
                <a:gd name="connsiteX29" fmla="*/ 3634549 w 9182100"/>
                <a:gd name="connsiteY29" fmla="*/ 45414 h 544245"/>
                <a:gd name="connsiteX30" fmla="*/ 3533394 w 9182100"/>
                <a:gd name="connsiteY30" fmla="*/ 40461 h 544245"/>
                <a:gd name="connsiteX31" fmla="*/ 3481959 w 9182100"/>
                <a:gd name="connsiteY31" fmla="*/ 37889 h 544245"/>
                <a:gd name="connsiteX32" fmla="*/ 3430238 w 9182100"/>
                <a:gd name="connsiteY32" fmla="*/ 35889 h 544245"/>
                <a:gd name="connsiteX33" fmla="*/ 3020473 w 9182100"/>
                <a:gd name="connsiteY33" fmla="*/ 37603 h 544245"/>
                <a:gd name="connsiteX34" fmla="*/ 2614422 w 9182100"/>
                <a:gd name="connsiteY34" fmla="*/ 56844 h 544245"/>
                <a:gd name="connsiteX35" fmla="*/ 2208657 w 9182100"/>
                <a:gd name="connsiteY35" fmla="*/ 81609 h 544245"/>
                <a:gd name="connsiteX36" fmla="*/ 1800606 w 9182100"/>
                <a:gd name="connsiteY36" fmla="*/ 107612 h 544245"/>
                <a:gd name="connsiteX37" fmla="*/ 1594676 w 9182100"/>
                <a:gd name="connsiteY37" fmla="*/ 124948 h 544245"/>
                <a:gd name="connsiteX38" fmla="*/ 1491996 w 9182100"/>
                <a:gd name="connsiteY38" fmla="*/ 136568 h 544245"/>
                <a:gd name="connsiteX39" fmla="*/ 1442942 w 9182100"/>
                <a:gd name="connsiteY39" fmla="*/ 141902 h 544245"/>
                <a:gd name="connsiteX40" fmla="*/ 1418463 w 9182100"/>
                <a:gd name="connsiteY40" fmla="*/ 144664 h 544245"/>
                <a:gd name="connsiteX41" fmla="*/ 1393984 w 9182100"/>
                <a:gd name="connsiteY41" fmla="*/ 146855 h 544245"/>
                <a:gd name="connsiteX42" fmla="*/ 1006697 w 9182100"/>
                <a:gd name="connsiteY42" fmla="*/ 169810 h 544245"/>
                <a:gd name="connsiteX43" fmla="*/ 816864 w 9182100"/>
                <a:gd name="connsiteY43" fmla="*/ 170953 h 544245"/>
                <a:gd name="connsiteX44" fmla="*/ 769906 w 9182100"/>
                <a:gd name="connsiteY44" fmla="*/ 169715 h 544245"/>
                <a:gd name="connsiteX45" fmla="*/ 723043 w 9182100"/>
                <a:gd name="connsiteY45" fmla="*/ 168096 h 544245"/>
                <a:gd name="connsiteX46" fmla="*/ 676370 w 9182100"/>
                <a:gd name="connsiteY46" fmla="*/ 166286 h 544245"/>
                <a:gd name="connsiteX47" fmla="*/ 629888 w 9182100"/>
                <a:gd name="connsiteY47" fmla="*/ 163333 h 544245"/>
                <a:gd name="connsiteX48" fmla="*/ 445484 w 9182100"/>
                <a:gd name="connsiteY48" fmla="*/ 146093 h 544245"/>
                <a:gd name="connsiteX49" fmla="*/ 263366 w 9182100"/>
                <a:gd name="connsiteY49" fmla="*/ 115232 h 544245"/>
                <a:gd name="connsiteX50" fmla="*/ 81439 w 9182100"/>
                <a:gd name="connsiteY50" fmla="*/ 70369 h 544245"/>
                <a:gd name="connsiteX51" fmla="*/ 35338 w 9182100"/>
                <a:gd name="connsiteY51" fmla="*/ 57034 h 544245"/>
                <a:gd name="connsiteX52" fmla="*/ 0 w 9182100"/>
                <a:gd name="connsiteY52" fmla="*/ 46652 h 544245"/>
                <a:gd name="connsiteX53" fmla="*/ 0 w 9182100"/>
                <a:gd name="connsiteY53" fmla="*/ 426795 h 544245"/>
                <a:gd name="connsiteX54" fmla="*/ 178594 w 9182100"/>
                <a:gd name="connsiteY54" fmla="*/ 479658 h 544245"/>
                <a:gd name="connsiteX55" fmla="*/ 610457 w 9182100"/>
                <a:gd name="connsiteY55" fmla="*/ 542619 h 544245"/>
                <a:gd name="connsiteX56" fmla="*/ 826865 w 9182100"/>
                <a:gd name="connsiteY56" fmla="*/ 539666 h 544245"/>
                <a:gd name="connsiteX57" fmla="*/ 1039654 w 9182100"/>
                <a:gd name="connsiteY57" fmla="*/ 515187 h 544245"/>
                <a:gd name="connsiteX58" fmla="*/ 1449705 w 9182100"/>
                <a:gd name="connsiteY58" fmla="*/ 415270 h 544245"/>
                <a:gd name="connsiteX59" fmla="*/ 1548765 w 9182100"/>
                <a:gd name="connsiteY59" fmla="*/ 382123 h 544245"/>
                <a:gd name="connsiteX60" fmla="*/ 1642872 w 9182100"/>
                <a:gd name="connsiteY60" fmla="*/ 349261 h 544245"/>
                <a:gd name="connsiteX61" fmla="*/ 1832991 w 9182100"/>
                <a:gd name="connsiteY61" fmla="*/ 289158 h 544245"/>
                <a:gd name="connsiteX62" fmla="*/ 2222754 w 9182100"/>
                <a:gd name="connsiteY62" fmla="*/ 193623 h 544245"/>
                <a:gd name="connsiteX63" fmla="*/ 2620137 w 9182100"/>
                <a:gd name="connsiteY63" fmla="*/ 138378 h 544245"/>
                <a:gd name="connsiteX64" fmla="*/ 3020473 w 9182100"/>
                <a:gd name="connsiteY64" fmla="*/ 127234 h 544245"/>
                <a:gd name="connsiteX65" fmla="*/ 3219736 w 9182100"/>
                <a:gd name="connsiteY65" fmla="*/ 139807 h 544245"/>
                <a:gd name="connsiteX66" fmla="*/ 3318605 w 9182100"/>
                <a:gd name="connsiteY66" fmla="*/ 151713 h 544245"/>
                <a:gd name="connsiteX67" fmla="*/ 3367754 w 9182100"/>
                <a:gd name="connsiteY67" fmla="*/ 158666 h 544245"/>
                <a:gd name="connsiteX68" fmla="*/ 3416618 w 9182100"/>
                <a:gd name="connsiteY68" fmla="*/ 166858 h 544245"/>
                <a:gd name="connsiteX69" fmla="*/ 3465195 w 9182100"/>
                <a:gd name="connsiteY69" fmla="*/ 176097 h 544245"/>
                <a:gd name="connsiteX70" fmla="*/ 3513868 w 9182100"/>
                <a:gd name="connsiteY70" fmla="*/ 185908 h 544245"/>
                <a:gd name="connsiteX71" fmla="*/ 3612737 w 9182100"/>
                <a:gd name="connsiteY71" fmla="*/ 207625 h 544245"/>
                <a:gd name="connsiteX72" fmla="*/ 3810381 w 9182100"/>
                <a:gd name="connsiteY72" fmla="*/ 252106 h 544245"/>
                <a:gd name="connsiteX73" fmla="*/ 4206621 w 9182100"/>
                <a:gd name="connsiteY73" fmla="*/ 339736 h 544245"/>
                <a:gd name="connsiteX74" fmla="*/ 4306062 w 9182100"/>
                <a:gd name="connsiteY74" fmla="*/ 359834 h 544245"/>
                <a:gd name="connsiteX75" fmla="*/ 4405503 w 9182100"/>
                <a:gd name="connsiteY75" fmla="*/ 378979 h 544245"/>
                <a:gd name="connsiteX76" fmla="*/ 4611529 w 9182100"/>
                <a:gd name="connsiteY76" fmla="*/ 405745 h 544245"/>
                <a:gd name="connsiteX77" fmla="*/ 5031677 w 9182100"/>
                <a:gd name="connsiteY77" fmla="*/ 427462 h 544245"/>
                <a:gd name="connsiteX78" fmla="*/ 5243227 w 9182100"/>
                <a:gd name="connsiteY78" fmla="*/ 418699 h 544245"/>
                <a:gd name="connsiteX79" fmla="*/ 5451062 w 9182100"/>
                <a:gd name="connsiteY79" fmla="*/ 398029 h 544245"/>
                <a:gd name="connsiteX80" fmla="*/ 5844635 w 9182100"/>
                <a:gd name="connsiteY80" fmla="*/ 353071 h 544245"/>
                <a:gd name="connsiteX81" fmla="*/ 5939981 w 9182100"/>
                <a:gd name="connsiteY81" fmla="*/ 346975 h 544245"/>
                <a:gd name="connsiteX82" fmla="*/ 6035898 w 9182100"/>
                <a:gd name="connsiteY82" fmla="*/ 344118 h 544245"/>
                <a:gd name="connsiteX83" fmla="*/ 6232303 w 9182100"/>
                <a:gd name="connsiteY83" fmla="*/ 343642 h 544245"/>
                <a:gd name="connsiteX84" fmla="*/ 6630924 w 9182100"/>
                <a:gd name="connsiteY84" fmla="*/ 351071 h 544245"/>
                <a:gd name="connsiteX85" fmla="*/ 6831140 w 9182100"/>
                <a:gd name="connsiteY85" fmla="*/ 356596 h 544245"/>
                <a:gd name="connsiteX86" fmla="*/ 7031545 w 9182100"/>
                <a:gd name="connsiteY86" fmla="*/ 362501 h 544245"/>
                <a:gd name="connsiteX87" fmla="*/ 7432262 w 9182100"/>
                <a:gd name="connsiteY87" fmla="*/ 378408 h 544245"/>
                <a:gd name="connsiteX88" fmla="*/ 7830312 w 9182100"/>
                <a:gd name="connsiteY88" fmla="*/ 402506 h 544245"/>
                <a:gd name="connsiteX89" fmla="*/ 7879270 w 9182100"/>
                <a:gd name="connsiteY89" fmla="*/ 406792 h 544245"/>
                <a:gd name="connsiteX90" fmla="*/ 7926895 w 9182100"/>
                <a:gd name="connsiteY90" fmla="*/ 411745 h 544245"/>
                <a:gd name="connsiteX91" fmla="*/ 7977569 w 9182100"/>
                <a:gd name="connsiteY91" fmla="*/ 417175 h 544245"/>
                <a:gd name="connsiteX92" fmla="*/ 8030623 w 9182100"/>
                <a:gd name="connsiteY92" fmla="*/ 422127 h 544245"/>
                <a:gd name="connsiteX93" fmla="*/ 8237982 w 9182100"/>
                <a:gd name="connsiteY93" fmla="*/ 435177 h 544245"/>
                <a:gd name="connsiteX94" fmla="*/ 8647748 w 9182100"/>
                <a:gd name="connsiteY94" fmla="*/ 449464 h 544245"/>
                <a:gd name="connsiteX95" fmla="*/ 8852821 w 9182100"/>
                <a:gd name="connsiteY95" fmla="*/ 456132 h 544245"/>
                <a:gd name="connsiteX96" fmla="*/ 8955786 w 9182100"/>
                <a:gd name="connsiteY96" fmla="*/ 458132 h 544245"/>
                <a:gd name="connsiteX97" fmla="*/ 9059227 w 9182100"/>
                <a:gd name="connsiteY97" fmla="*/ 457751 h 544245"/>
                <a:gd name="connsiteX98" fmla="*/ 9182005 w 9182100"/>
                <a:gd name="connsiteY98" fmla="*/ 452512 h 544245"/>
                <a:gd name="connsiteX99" fmla="*/ 9182005 w 9182100"/>
                <a:gd name="connsiteY99" fmla="*/ 154189 h 544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9182100" h="544245">
                  <a:moveTo>
                    <a:pt x="9182100" y="154189"/>
                  </a:moveTo>
                  <a:cubicBezTo>
                    <a:pt x="9137618" y="157142"/>
                    <a:pt x="9092851" y="159904"/>
                    <a:pt x="9047702" y="162762"/>
                  </a:cubicBezTo>
                  <a:cubicBezTo>
                    <a:pt x="8917114" y="170668"/>
                    <a:pt x="8784717" y="178002"/>
                    <a:pt x="8652224" y="178287"/>
                  </a:cubicBezTo>
                  <a:cubicBezTo>
                    <a:pt x="8519732" y="178764"/>
                    <a:pt x="8387049" y="171239"/>
                    <a:pt x="8255603" y="161047"/>
                  </a:cubicBezTo>
                  <a:cubicBezTo>
                    <a:pt x="8189881" y="155904"/>
                    <a:pt x="8124539" y="149236"/>
                    <a:pt x="8060722" y="140854"/>
                  </a:cubicBezTo>
                  <a:cubicBezTo>
                    <a:pt x="8044815" y="138759"/>
                    <a:pt x="8029099" y="136473"/>
                    <a:pt x="8013478" y="134187"/>
                  </a:cubicBezTo>
                  <a:lnTo>
                    <a:pt x="7990428" y="130567"/>
                  </a:lnTo>
                  <a:lnTo>
                    <a:pt x="7964139" y="126853"/>
                  </a:lnTo>
                  <a:cubicBezTo>
                    <a:pt x="7946708" y="124376"/>
                    <a:pt x="7928896" y="121709"/>
                    <a:pt x="7911656" y="119518"/>
                  </a:cubicBezTo>
                  <a:lnTo>
                    <a:pt x="7860220" y="113232"/>
                  </a:lnTo>
                  <a:cubicBezTo>
                    <a:pt x="7723728" y="96277"/>
                    <a:pt x="7589044" y="83038"/>
                    <a:pt x="7453884" y="70369"/>
                  </a:cubicBezTo>
                  <a:cubicBezTo>
                    <a:pt x="7318915" y="57701"/>
                    <a:pt x="7184041" y="46366"/>
                    <a:pt x="7048976" y="36556"/>
                  </a:cubicBezTo>
                  <a:cubicBezTo>
                    <a:pt x="6981444" y="31793"/>
                    <a:pt x="6913912" y="26840"/>
                    <a:pt x="6846285" y="22649"/>
                  </a:cubicBezTo>
                  <a:cubicBezTo>
                    <a:pt x="6778657" y="18553"/>
                    <a:pt x="6710934" y="14934"/>
                    <a:pt x="6643212" y="11600"/>
                  </a:cubicBezTo>
                  <a:lnTo>
                    <a:pt x="6541485" y="7314"/>
                  </a:lnTo>
                  <a:cubicBezTo>
                    <a:pt x="6507576" y="5790"/>
                    <a:pt x="6473667" y="4647"/>
                    <a:pt x="6439567" y="3885"/>
                  </a:cubicBezTo>
                  <a:lnTo>
                    <a:pt x="6337459" y="1313"/>
                  </a:lnTo>
                  <a:lnTo>
                    <a:pt x="6234970" y="75"/>
                  </a:lnTo>
                  <a:cubicBezTo>
                    <a:pt x="6166295" y="-116"/>
                    <a:pt x="6097715" y="-116"/>
                    <a:pt x="6027802" y="2265"/>
                  </a:cubicBezTo>
                  <a:cubicBezTo>
                    <a:pt x="5993320" y="3123"/>
                    <a:pt x="5957412" y="4456"/>
                    <a:pt x="5921978" y="6552"/>
                  </a:cubicBezTo>
                  <a:cubicBezTo>
                    <a:pt x="5886546" y="8552"/>
                    <a:pt x="5851112" y="11124"/>
                    <a:pt x="5815965" y="14362"/>
                  </a:cubicBezTo>
                  <a:cubicBezTo>
                    <a:pt x="5674995" y="27126"/>
                    <a:pt x="5538597" y="48938"/>
                    <a:pt x="5408390" y="67036"/>
                  </a:cubicBezTo>
                  <a:cubicBezTo>
                    <a:pt x="5277993" y="85514"/>
                    <a:pt x="5151692" y="99039"/>
                    <a:pt x="5023866" y="103992"/>
                  </a:cubicBezTo>
                  <a:cubicBezTo>
                    <a:pt x="4960049" y="106660"/>
                    <a:pt x="4895946" y="107231"/>
                    <a:pt x="4831556" y="106374"/>
                  </a:cubicBezTo>
                  <a:cubicBezTo>
                    <a:pt x="4767167" y="105231"/>
                    <a:pt x="4702588" y="102468"/>
                    <a:pt x="4637723" y="98754"/>
                  </a:cubicBezTo>
                  <a:cubicBezTo>
                    <a:pt x="4572762" y="95230"/>
                    <a:pt x="4507992" y="88848"/>
                    <a:pt x="4442460" y="83038"/>
                  </a:cubicBezTo>
                  <a:cubicBezTo>
                    <a:pt x="4408837" y="80752"/>
                    <a:pt x="4375214" y="79228"/>
                    <a:pt x="4341686" y="77227"/>
                  </a:cubicBezTo>
                  <a:cubicBezTo>
                    <a:pt x="4308158" y="75227"/>
                    <a:pt x="4274534" y="73417"/>
                    <a:pt x="4241006" y="71989"/>
                  </a:cubicBezTo>
                  <a:cubicBezTo>
                    <a:pt x="4106895" y="65131"/>
                    <a:pt x="3971925" y="59797"/>
                    <a:pt x="3836956" y="54177"/>
                  </a:cubicBezTo>
                  <a:lnTo>
                    <a:pt x="3634549" y="45414"/>
                  </a:lnTo>
                  <a:lnTo>
                    <a:pt x="3533394" y="40461"/>
                  </a:lnTo>
                  <a:lnTo>
                    <a:pt x="3481959" y="37889"/>
                  </a:lnTo>
                  <a:cubicBezTo>
                    <a:pt x="3464719" y="37127"/>
                    <a:pt x="3447479" y="36079"/>
                    <a:pt x="3430238" y="35889"/>
                  </a:cubicBezTo>
                  <a:cubicBezTo>
                    <a:pt x="3292602" y="31126"/>
                    <a:pt x="3156299" y="33603"/>
                    <a:pt x="3020473" y="37603"/>
                  </a:cubicBezTo>
                  <a:cubicBezTo>
                    <a:pt x="2884741" y="41985"/>
                    <a:pt x="2749487" y="48843"/>
                    <a:pt x="2614422" y="56844"/>
                  </a:cubicBezTo>
                  <a:lnTo>
                    <a:pt x="2208657" y="81609"/>
                  </a:lnTo>
                  <a:cubicBezTo>
                    <a:pt x="2073116" y="89991"/>
                    <a:pt x="1937195" y="97515"/>
                    <a:pt x="1800606" y="107612"/>
                  </a:cubicBezTo>
                  <a:cubicBezTo>
                    <a:pt x="1732217" y="112184"/>
                    <a:pt x="1663827" y="117804"/>
                    <a:pt x="1594676" y="124948"/>
                  </a:cubicBezTo>
                  <a:lnTo>
                    <a:pt x="1491996" y="136568"/>
                  </a:lnTo>
                  <a:lnTo>
                    <a:pt x="1442942" y="141902"/>
                  </a:lnTo>
                  <a:lnTo>
                    <a:pt x="1418463" y="144664"/>
                  </a:lnTo>
                  <a:lnTo>
                    <a:pt x="1393984" y="146855"/>
                  </a:lnTo>
                  <a:cubicBezTo>
                    <a:pt x="1263491" y="159142"/>
                    <a:pt x="1134142" y="166667"/>
                    <a:pt x="1006697" y="169810"/>
                  </a:cubicBezTo>
                  <a:cubicBezTo>
                    <a:pt x="942975" y="172001"/>
                    <a:pt x="879729" y="171239"/>
                    <a:pt x="816864" y="170953"/>
                  </a:cubicBezTo>
                  <a:lnTo>
                    <a:pt x="769906" y="169715"/>
                  </a:lnTo>
                  <a:cubicBezTo>
                    <a:pt x="754285" y="169525"/>
                    <a:pt x="738569" y="169048"/>
                    <a:pt x="723043" y="168096"/>
                  </a:cubicBezTo>
                  <a:lnTo>
                    <a:pt x="676370" y="166286"/>
                  </a:lnTo>
                  <a:cubicBezTo>
                    <a:pt x="660845" y="165238"/>
                    <a:pt x="645414" y="164095"/>
                    <a:pt x="629888" y="163333"/>
                  </a:cubicBezTo>
                  <a:cubicBezTo>
                    <a:pt x="568071" y="159047"/>
                    <a:pt x="506540" y="154094"/>
                    <a:pt x="445484" y="146093"/>
                  </a:cubicBezTo>
                  <a:cubicBezTo>
                    <a:pt x="384524" y="137997"/>
                    <a:pt x="323850" y="128091"/>
                    <a:pt x="263366" y="115232"/>
                  </a:cubicBezTo>
                  <a:cubicBezTo>
                    <a:pt x="202787" y="102850"/>
                    <a:pt x="142589" y="87419"/>
                    <a:pt x="81439" y="70369"/>
                  </a:cubicBezTo>
                  <a:cubicBezTo>
                    <a:pt x="66199" y="66178"/>
                    <a:pt x="50864" y="61702"/>
                    <a:pt x="35338" y="57034"/>
                  </a:cubicBezTo>
                  <a:lnTo>
                    <a:pt x="0" y="46652"/>
                  </a:lnTo>
                  <a:lnTo>
                    <a:pt x="0" y="426795"/>
                  </a:lnTo>
                  <a:cubicBezTo>
                    <a:pt x="58198" y="446416"/>
                    <a:pt x="117920" y="464323"/>
                    <a:pt x="178594" y="479658"/>
                  </a:cubicBezTo>
                  <a:cubicBezTo>
                    <a:pt x="319850" y="514901"/>
                    <a:pt x="465582" y="537094"/>
                    <a:pt x="610457" y="542619"/>
                  </a:cubicBezTo>
                  <a:cubicBezTo>
                    <a:pt x="682943" y="545953"/>
                    <a:pt x="755142" y="543762"/>
                    <a:pt x="826865" y="539666"/>
                  </a:cubicBezTo>
                  <a:cubicBezTo>
                    <a:pt x="898398" y="534523"/>
                    <a:pt x="969645" y="526903"/>
                    <a:pt x="1039654" y="515187"/>
                  </a:cubicBezTo>
                  <a:cubicBezTo>
                    <a:pt x="1180052" y="492517"/>
                    <a:pt x="1316736" y="457751"/>
                    <a:pt x="1449705" y="415270"/>
                  </a:cubicBezTo>
                  <a:cubicBezTo>
                    <a:pt x="1483138" y="405364"/>
                    <a:pt x="1515809" y="393172"/>
                    <a:pt x="1548765" y="382123"/>
                  </a:cubicBezTo>
                  <a:lnTo>
                    <a:pt x="1642872" y="349261"/>
                  </a:lnTo>
                  <a:cubicBezTo>
                    <a:pt x="1705261" y="328211"/>
                    <a:pt x="1768983" y="308208"/>
                    <a:pt x="1832991" y="289158"/>
                  </a:cubicBezTo>
                  <a:cubicBezTo>
                    <a:pt x="1961198" y="251821"/>
                    <a:pt x="2091404" y="219435"/>
                    <a:pt x="2222754" y="193623"/>
                  </a:cubicBezTo>
                  <a:cubicBezTo>
                    <a:pt x="2354199" y="168382"/>
                    <a:pt x="2486882" y="149332"/>
                    <a:pt x="2620137" y="138378"/>
                  </a:cubicBezTo>
                  <a:cubicBezTo>
                    <a:pt x="2753392" y="127424"/>
                    <a:pt x="2887123" y="122947"/>
                    <a:pt x="3020473" y="127234"/>
                  </a:cubicBezTo>
                  <a:cubicBezTo>
                    <a:pt x="3087148" y="129043"/>
                    <a:pt x="3153632" y="133711"/>
                    <a:pt x="3219736" y="139807"/>
                  </a:cubicBezTo>
                  <a:cubicBezTo>
                    <a:pt x="3252788" y="143426"/>
                    <a:pt x="3285839" y="146760"/>
                    <a:pt x="3318605" y="151713"/>
                  </a:cubicBezTo>
                  <a:lnTo>
                    <a:pt x="3367754" y="158666"/>
                  </a:lnTo>
                  <a:cubicBezTo>
                    <a:pt x="3384042" y="161238"/>
                    <a:pt x="3400330" y="164000"/>
                    <a:pt x="3416618" y="166858"/>
                  </a:cubicBezTo>
                  <a:cubicBezTo>
                    <a:pt x="3432905" y="169525"/>
                    <a:pt x="3449003" y="172954"/>
                    <a:pt x="3465195" y="176097"/>
                  </a:cubicBezTo>
                  <a:cubicBezTo>
                    <a:pt x="3481483" y="179431"/>
                    <a:pt x="3497199" y="182288"/>
                    <a:pt x="3513868" y="185908"/>
                  </a:cubicBezTo>
                  <a:lnTo>
                    <a:pt x="3612737" y="207625"/>
                  </a:lnTo>
                  <a:lnTo>
                    <a:pt x="3810381" y="252106"/>
                  </a:lnTo>
                  <a:cubicBezTo>
                    <a:pt x="3942112" y="282015"/>
                    <a:pt x="4073843" y="312590"/>
                    <a:pt x="4206621" y="339736"/>
                  </a:cubicBezTo>
                  <a:cubicBezTo>
                    <a:pt x="4239768" y="346785"/>
                    <a:pt x="4272915" y="353452"/>
                    <a:pt x="4306062" y="359834"/>
                  </a:cubicBezTo>
                  <a:cubicBezTo>
                    <a:pt x="4339209" y="366216"/>
                    <a:pt x="4372356" y="372979"/>
                    <a:pt x="4405503" y="378979"/>
                  </a:cubicBezTo>
                  <a:cubicBezTo>
                    <a:pt x="4473416" y="389266"/>
                    <a:pt x="4542378" y="398410"/>
                    <a:pt x="4611529" y="405745"/>
                  </a:cubicBezTo>
                  <a:cubicBezTo>
                    <a:pt x="4749832" y="420794"/>
                    <a:pt x="4890326" y="428795"/>
                    <a:pt x="5031677" y="427462"/>
                  </a:cubicBezTo>
                  <a:cubicBezTo>
                    <a:pt x="5102352" y="426985"/>
                    <a:pt x="5173028" y="423747"/>
                    <a:pt x="5243227" y="418699"/>
                  </a:cubicBezTo>
                  <a:cubicBezTo>
                    <a:pt x="5313427" y="413650"/>
                    <a:pt x="5382959" y="406030"/>
                    <a:pt x="5451062" y="398029"/>
                  </a:cubicBezTo>
                  <a:cubicBezTo>
                    <a:pt x="5587651" y="381551"/>
                    <a:pt x="5717381" y="362501"/>
                    <a:pt x="5844635" y="353071"/>
                  </a:cubicBezTo>
                  <a:cubicBezTo>
                    <a:pt x="5876544" y="350690"/>
                    <a:pt x="5908262" y="348404"/>
                    <a:pt x="5939981" y="346975"/>
                  </a:cubicBezTo>
                  <a:cubicBezTo>
                    <a:pt x="5971794" y="345356"/>
                    <a:pt x="6003036" y="344308"/>
                    <a:pt x="6035898" y="344118"/>
                  </a:cubicBezTo>
                  <a:cubicBezTo>
                    <a:pt x="6100477" y="343070"/>
                    <a:pt x="6166390" y="343356"/>
                    <a:pt x="6232303" y="343642"/>
                  </a:cubicBezTo>
                  <a:cubicBezTo>
                    <a:pt x="6364415" y="344880"/>
                    <a:pt x="6497669" y="347833"/>
                    <a:pt x="6630924" y="351071"/>
                  </a:cubicBezTo>
                  <a:lnTo>
                    <a:pt x="6831140" y="356596"/>
                  </a:lnTo>
                  <a:lnTo>
                    <a:pt x="7031545" y="362501"/>
                  </a:lnTo>
                  <a:cubicBezTo>
                    <a:pt x="7165086" y="367454"/>
                    <a:pt x="7298818" y="371835"/>
                    <a:pt x="7432262" y="378408"/>
                  </a:cubicBezTo>
                  <a:cubicBezTo>
                    <a:pt x="7565518" y="384790"/>
                    <a:pt x="7699153" y="392124"/>
                    <a:pt x="7830312" y="402506"/>
                  </a:cubicBezTo>
                  <a:lnTo>
                    <a:pt x="7879270" y="406792"/>
                  </a:lnTo>
                  <a:lnTo>
                    <a:pt x="7926895" y="411745"/>
                  </a:lnTo>
                  <a:lnTo>
                    <a:pt x="7977569" y="417175"/>
                  </a:lnTo>
                  <a:cubicBezTo>
                    <a:pt x="7995380" y="418984"/>
                    <a:pt x="8013097" y="420699"/>
                    <a:pt x="8030623" y="422127"/>
                  </a:cubicBezTo>
                  <a:cubicBezTo>
                    <a:pt x="8100632" y="427843"/>
                    <a:pt x="8169402" y="431748"/>
                    <a:pt x="8237982" y="435177"/>
                  </a:cubicBezTo>
                  <a:cubicBezTo>
                    <a:pt x="8375047" y="442035"/>
                    <a:pt x="8511254" y="444511"/>
                    <a:pt x="8647748" y="449464"/>
                  </a:cubicBezTo>
                  <a:cubicBezTo>
                    <a:pt x="8715946" y="451750"/>
                    <a:pt x="8784336" y="454513"/>
                    <a:pt x="8852821" y="456132"/>
                  </a:cubicBezTo>
                  <a:cubicBezTo>
                    <a:pt x="8887111" y="456989"/>
                    <a:pt x="8921401" y="457751"/>
                    <a:pt x="8955786" y="458132"/>
                  </a:cubicBezTo>
                  <a:cubicBezTo>
                    <a:pt x="8990171" y="458323"/>
                    <a:pt x="9024651" y="458227"/>
                    <a:pt x="9059227" y="457751"/>
                  </a:cubicBezTo>
                  <a:cubicBezTo>
                    <a:pt x="9099995" y="456989"/>
                    <a:pt x="9140857" y="455275"/>
                    <a:pt x="9182005" y="452512"/>
                  </a:cubicBezTo>
                  <a:lnTo>
                    <a:pt x="9182005" y="154189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EF4DD4B-217B-4346-A2B8-4327936399C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3324550"/>
              <a:ext cx="9182100" cy="765639"/>
            </a:xfrm>
            <a:custGeom>
              <a:avLst/>
              <a:gdLst>
                <a:gd name="connsiteX0" fmla="*/ 9182100 w 9182100"/>
                <a:gd name="connsiteY0" fmla="*/ 351088 h 765639"/>
                <a:gd name="connsiteX1" fmla="*/ 9178480 w 9182100"/>
                <a:gd name="connsiteY1" fmla="*/ 350993 h 765639"/>
                <a:gd name="connsiteX2" fmla="*/ 8783955 w 9182100"/>
                <a:gd name="connsiteY2" fmla="*/ 327561 h 765639"/>
                <a:gd name="connsiteX3" fmla="*/ 8390763 w 9182100"/>
                <a:gd name="connsiteY3" fmla="*/ 288795 h 765639"/>
                <a:gd name="connsiteX4" fmla="*/ 8199502 w 9182100"/>
                <a:gd name="connsiteY4" fmla="*/ 262601 h 765639"/>
                <a:gd name="connsiteX5" fmla="*/ 8153972 w 9182100"/>
                <a:gd name="connsiteY5" fmla="*/ 254886 h 765639"/>
                <a:gd name="connsiteX6" fmla="*/ 8131588 w 9182100"/>
                <a:gd name="connsiteY6" fmla="*/ 250790 h 765639"/>
                <a:gd name="connsiteX7" fmla="*/ 8104632 w 9182100"/>
                <a:gd name="connsiteY7" fmla="*/ 246504 h 765639"/>
                <a:gd name="connsiteX8" fmla="*/ 8050911 w 9182100"/>
                <a:gd name="connsiteY8" fmla="*/ 238217 h 765639"/>
                <a:gd name="connsiteX9" fmla="*/ 7998810 w 9182100"/>
                <a:gd name="connsiteY9" fmla="*/ 230978 h 765639"/>
                <a:gd name="connsiteX10" fmla="*/ 7589902 w 9182100"/>
                <a:gd name="connsiteY10" fmla="*/ 183925 h 765639"/>
                <a:gd name="connsiteX11" fmla="*/ 7183469 w 9182100"/>
                <a:gd name="connsiteY11" fmla="*/ 147634 h 765639"/>
                <a:gd name="connsiteX12" fmla="*/ 6775990 w 9182100"/>
                <a:gd name="connsiteY12" fmla="*/ 119821 h 765639"/>
                <a:gd name="connsiteX13" fmla="*/ 6364795 w 9182100"/>
                <a:gd name="connsiteY13" fmla="*/ 102391 h 765639"/>
                <a:gd name="connsiteX14" fmla="*/ 6154293 w 9182100"/>
                <a:gd name="connsiteY14" fmla="*/ 100581 h 765639"/>
                <a:gd name="connsiteX15" fmla="*/ 6100287 w 9182100"/>
                <a:gd name="connsiteY15" fmla="*/ 101343 h 765639"/>
                <a:gd name="connsiteX16" fmla="*/ 6045327 w 9182100"/>
                <a:gd name="connsiteY16" fmla="*/ 103438 h 765639"/>
                <a:gd name="connsiteX17" fmla="*/ 5935980 w 9182100"/>
                <a:gd name="connsiteY17" fmla="*/ 110296 h 765639"/>
                <a:gd name="connsiteX18" fmla="*/ 5523357 w 9182100"/>
                <a:gd name="connsiteY18" fmla="*/ 157635 h 765639"/>
                <a:gd name="connsiteX19" fmla="*/ 5149882 w 9182100"/>
                <a:gd name="connsiteY19" fmla="*/ 185639 h 765639"/>
                <a:gd name="connsiteX20" fmla="*/ 4777073 w 9182100"/>
                <a:gd name="connsiteY20" fmla="*/ 170685 h 765639"/>
                <a:gd name="connsiteX21" fmla="*/ 4729925 w 9182100"/>
                <a:gd name="connsiteY21" fmla="*/ 166208 h 765639"/>
                <a:gd name="connsiteX22" fmla="*/ 4682585 w 9182100"/>
                <a:gd name="connsiteY22" fmla="*/ 161064 h 765639"/>
                <a:gd name="connsiteX23" fmla="*/ 4635151 w 9182100"/>
                <a:gd name="connsiteY23" fmla="*/ 155445 h 765639"/>
                <a:gd name="connsiteX24" fmla="*/ 4611434 w 9182100"/>
                <a:gd name="connsiteY24" fmla="*/ 152492 h 765639"/>
                <a:gd name="connsiteX25" fmla="*/ 4587145 w 9182100"/>
                <a:gd name="connsiteY25" fmla="*/ 149349 h 765639"/>
                <a:gd name="connsiteX26" fmla="*/ 4387977 w 9182100"/>
                <a:gd name="connsiteY26" fmla="*/ 122774 h 765639"/>
                <a:gd name="connsiteX27" fmla="*/ 3989356 w 9182100"/>
                <a:gd name="connsiteY27" fmla="*/ 68577 h 765639"/>
                <a:gd name="connsiteX28" fmla="*/ 3789140 w 9182100"/>
                <a:gd name="connsiteY28" fmla="*/ 42192 h 765639"/>
                <a:gd name="connsiteX29" fmla="*/ 3689033 w 9182100"/>
                <a:gd name="connsiteY29" fmla="*/ 29143 h 765639"/>
                <a:gd name="connsiteX30" fmla="*/ 3634835 w 9182100"/>
                <a:gd name="connsiteY30" fmla="*/ 22571 h 765639"/>
                <a:gd name="connsiteX31" fmla="*/ 3579876 w 9182100"/>
                <a:gd name="connsiteY31" fmla="*/ 16856 h 765639"/>
                <a:gd name="connsiteX32" fmla="*/ 3147441 w 9182100"/>
                <a:gd name="connsiteY32" fmla="*/ 473 h 765639"/>
                <a:gd name="connsiteX33" fmla="*/ 2724722 w 9182100"/>
                <a:gd name="connsiteY33" fmla="*/ 22857 h 765639"/>
                <a:gd name="connsiteX34" fmla="*/ 1898428 w 9182100"/>
                <a:gd name="connsiteY34" fmla="*/ 147730 h 765639"/>
                <a:gd name="connsiteX35" fmla="*/ 1692878 w 9182100"/>
                <a:gd name="connsiteY35" fmla="*/ 195069 h 765639"/>
                <a:gd name="connsiteX36" fmla="*/ 1640205 w 9182100"/>
                <a:gd name="connsiteY36" fmla="*/ 208785 h 765639"/>
                <a:gd name="connsiteX37" fmla="*/ 1592294 w 9182100"/>
                <a:gd name="connsiteY37" fmla="*/ 221643 h 765639"/>
                <a:gd name="connsiteX38" fmla="*/ 1500092 w 9182100"/>
                <a:gd name="connsiteY38" fmla="*/ 245551 h 765639"/>
                <a:gd name="connsiteX39" fmla="*/ 1130046 w 9182100"/>
                <a:gd name="connsiteY39" fmla="*/ 318227 h 765639"/>
                <a:gd name="connsiteX40" fmla="*/ 944880 w 9182100"/>
                <a:gd name="connsiteY40" fmla="*/ 337658 h 765639"/>
                <a:gd name="connsiteX41" fmla="*/ 852583 w 9182100"/>
                <a:gd name="connsiteY41" fmla="*/ 341944 h 765639"/>
                <a:gd name="connsiteX42" fmla="*/ 760476 w 9182100"/>
                <a:gd name="connsiteY42" fmla="*/ 343087 h 765639"/>
                <a:gd name="connsiteX43" fmla="*/ 577215 w 9182100"/>
                <a:gd name="connsiteY43" fmla="*/ 332800 h 765639"/>
                <a:gd name="connsiteX44" fmla="*/ 394907 w 9182100"/>
                <a:gd name="connsiteY44" fmla="*/ 305463 h 765639"/>
                <a:gd name="connsiteX45" fmla="*/ 211265 w 9182100"/>
                <a:gd name="connsiteY45" fmla="*/ 261363 h 765639"/>
                <a:gd name="connsiteX46" fmla="*/ 17526 w 9182100"/>
                <a:gd name="connsiteY46" fmla="*/ 204880 h 765639"/>
                <a:gd name="connsiteX47" fmla="*/ 0 w 9182100"/>
                <a:gd name="connsiteY47" fmla="*/ 199927 h 765639"/>
                <a:gd name="connsiteX48" fmla="*/ 0 w 9182100"/>
                <a:gd name="connsiteY48" fmla="*/ 526920 h 765639"/>
                <a:gd name="connsiteX49" fmla="*/ 100298 w 9182100"/>
                <a:gd name="connsiteY49" fmla="*/ 571973 h 765639"/>
                <a:gd name="connsiteX50" fmla="*/ 301562 w 9182100"/>
                <a:gd name="connsiteY50" fmla="*/ 649697 h 765639"/>
                <a:gd name="connsiteX51" fmla="*/ 731044 w 9182100"/>
                <a:gd name="connsiteY51" fmla="*/ 746947 h 765639"/>
                <a:gd name="connsiteX52" fmla="*/ 1168241 w 9182100"/>
                <a:gd name="connsiteY52" fmla="*/ 762759 h 765639"/>
                <a:gd name="connsiteX53" fmla="*/ 1596581 w 9182100"/>
                <a:gd name="connsiteY53" fmla="*/ 716944 h 765639"/>
                <a:gd name="connsiteX54" fmla="*/ 1701641 w 9182100"/>
                <a:gd name="connsiteY54" fmla="*/ 697894 h 765639"/>
                <a:gd name="connsiteX55" fmla="*/ 1752124 w 9182100"/>
                <a:gd name="connsiteY55" fmla="*/ 688273 h 765639"/>
                <a:gd name="connsiteX56" fmla="*/ 1797939 w 9182100"/>
                <a:gd name="connsiteY56" fmla="*/ 679891 h 765639"/>
                <a:gd name="connsiteX57" fmla="*/ 1988630 w 9182100"/>
                <a:gd name="connsiteY57" fmla="*/ 649316 h 765639"/>
                <a:gd name="connsiteX58" fmla="*/ 2376297 w 9182100"/>
                <a:gd name="connsiteY58" fmla="*/ 601691 h 765639"/>
                <a:gd name="connsiteX59" fmla="*/ 2570416 w 9182100"/>
                <a:gd name="connsiteY59" fmla="*/ 584165 h 765639"/>
                <a:gd name="connsiteX60" fmla="*/ 2764155 w 9182100"/>
                <a:gd name="connsiteY60" fmla="*/ 571497 h 765639"/>
                <a:gd name="connsiteX61" fmla="*/ 2956941 w 9182100"/>
                <a:gd name="connsiteY61" fmla="*/ 564163 h 765639"/>
                <a:gd name="connsiteX62" fmla="*/ 3148298 w 9182100"/>
                <a:gd name="connsiteY62" fmla="*/ 562639 h 765639"/>
                <a:gd name="connsiteX63" fmla="*/ 3337274 w 9182100"/>
                <a:gd name="connsiteY63" fmla="*/ 568544 h 765639"/>
                <a:gd name="connsiteX64" fmla="*/ 3522345 w 9182100"/>
                <a:gd name="connsiteY64" fmla="*/ 583308 h 765639"/>
                <a:gd name="connsiteX65" fmla="*/ 3567779 w 9182100"/>
                <a:gd name="connsiteY65" fmla="*/ 588642 h 765639"/>
                <a:gd name="connsiteX66" fmla="*/ 3613785 w 9182100"/>
                <a:gd name="connsiteY66" fmla="*/ 594357 h 765639"/>
                <a:gd name="connsiteX67" fmla="*/ 3713798 w 9182100"/>
                <a:gd name="connsiteY67" fmla="*/ 607882 h 765639"/>
                <a:gd name="connsiteX68" fmla="*/ 3913823 w 9182100"/>
                <a:gd name="connsiteY68" fmla="*/ 634838 h 765639"/>
                <a:gd name="connsiteX69" fmla="*/ 4315873 w 9182100"/>
                <a:gd name="connsiteY69" fmla="*/ 686273 h 765639"/>
                <a:gd name="connsiteX70" fmla="*/ 4517422 w 9182100"/>
                <a:gd name="connsiteY70" fmla="*/ 710086 h 765639"/>
                <a:gd name="connsiteX71" fmla="*/ 4728972 w 9182100"/>
                <a:gd name="connsiteY71" fmla="*/ 731422 h 765639"/>
                <a:gd name="connsiteX72" fmla="*/ 5162931 w 9182100"/>
                <a:gd name="connsiteY72" fmla="*/ 744185 h 765639"/>
                <a:gd name="connsiteX73" fmla="*/ 5594033 w 9182100"/>
                <a:gd name="connsiteY73" fmla="*/ 706466 h 765639"/>
                <a:gd name="connsiteX74" fmla="*/ 5982939 w 9182100"/>
                <a:gd name="connsiteY74" fmla="*/ 655793 h 765639"/>
                <a:gd name="connsiteX75" fmla="*/ 6075045 w 9182100"/>
                <a:gd name="connsiteY75" fmla="*/ 648459 h 765639"/>
                <a:gd name="connsiteX76" fmla="*/ 6167819 w 9182100"/>
                <a:gd name="connsiteY76" fmla="*/ 643887 h 765639"/>
                <a:gd name="connsiteX77" fmla="*/ 6361081 w 9182100"/>
                <a:gd name="connsiteY77" fmla="*/ 639124 h 765639"/>
                <a:gd name="connsiteX78" fmla="*/ 6757321 w 9182100"/>
                <a:gd name="connsiteY78" fmla="*/ 640458 h 765639"/>
                <a:gd name="connsiteX79" fmla="*/ 7156704 w 9182100"/>
                <a:gd name="connsiteY79" fmla="*/ 649030 h 765639"/>
                <a:gd name="connsiteX80" fmla="*/ 7556373 w 9182100"/>
                <a:gd name="connsiteY80" fmla="*/ 662365 h 765639"/>
                <a:gd name="connsiteX81" fmla="*/ 7952328 w 9182100"/>
                <a:gd name="connsiteY81" fmla="*/ 682177 h 765639"/>
                <a:gd name="connsiteX82" fmla="*/ 8000714 w 9182100"/>
                <a:gd name="connsiteY82" fmla="*/ 685511 h 765639"/>
                <a:gd name="connsiteX83" fmla="*/ 8047196 w 9182100"/>
                <a:gd name="connsiteY83" fmla="*/ 689416 h 765639"/>
                <a:gd name="connsiteX84" fmla="*/ 8097965 w 9182100"/>
                <a:gd name="connsiteY84" fmla="*/ 693893 h 765639"/>
                <a:gd name="connsiteX85" fmla="*/ 8152733 w 9182100"/>
                <a:gd name="connsiteY85" fmla="*/ 697894 h 765639"/>
                <a:gd name="connsiteX86" fmla="*/ 8363903 w 9182100"/>
                <a:gd name="connsiteY86" fmla="*/ 705133 h 765639"/>
                <a:gd name="connsiteX87" fmla="*/ 8777764 w 9182100"/>
                <a:gd name="connsiteY87" fmla="*/ 698084 h 765639"/>
                <a:gd name="connsiteX88" fmla="*/ 9182005 w 9182100"/>
                <a:gd name="connsiteY88" fmla="*/ 668366 h 765639"/>
                <a:gd name="connsiteX89" fmla="*/ 9182005 w 9182100"/>
                <a:gd name="connsiteY89" fmla="*/ 351088 h 765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9182100" h="765639">
                  <a:moveTo>
                    <a:pt x="9182100" y="351088"/>
                  </a:moveTo>
                  <a:cubicBezTo>
                    <a:pt x="9180862" y="351088"/>
                    <a:pt x="9179719" y="350993"/>
                    <a:pt x="9178480" y="350993"/>
                  </a:cubicBezTo>
                  <a:cubicBezTo>
                    <a:pt x="9047607" y="346421"/>
                    <a:pt x="8915591" y="337944"/>
                    <a:pt x="8783955" y="327561"/>
                  </a:cubicBezTo>
                  <a:cubicBezTo>
                    <a:pt x="8652320" y="316894"/>
                    <a:pt x="8520589" y="304416"/>
                    <a:pt x="8390763" y="288795"/>
                  </a:cubicBezTo>
                  <a:cubicBezTo>
                    <a:pt x="8325898" y="281175"/>
                    <a:pt x="8261509" y="272602"/>
                    <a:pt x="8199502" y="262601"/>
                  </a:cubicBezTo>
                  <a:cubicBezTo>
                    <a:pt x="8184070" y="260029"/>
                    <a:pt x="8168831" y="257553"/>
                    <a:pt x="8153972" y="254886"/>
                  </a:cubicBezTo>
                  <a:lnTo>
                    <a:pt x="8131588" y="250790"/>
                  </a:lnTo>
                  <a:lnTo>
                    <a:pt x="8104632" y="246504"/>
                  </a:lnTo>
                  <a:cubicBezTo>
                    <a:pt x="8086725" y="243741"/>
                    <a:pt x="8068247" y="240598"/>
                    <a:pt x="8050911" y="238217"/>
                  </a:cubicBezTo>
                  <a:lnTo>
                    <a:pt x="7998810" y="230978"/>
                  </a:lnTo>
                  <a:cubicBezTo>
                    <a:pt x="7860697" y="212023"/>
                    <a:pt x="7725633" y="198021"/>
                    <a:pt x="7589902" y="183925"/>
                  </a:cubicBezTo>
                  <a:cubicBezTo>
                    <a:pt x="7454360" y="170304"/>
                    <a:pt x="7319010" y="158779"/>
                    <a:pt x="7183469" y="147634"/>
                  </a:cubicBezTo>
                  <a:cubicBezTo>
                    <a:pt x="7047929" y="137252"/>
                    <a:pt x="6912198" y="127632"/>
                    <a:pt x="6775990" y="119821"/>
                  </a:cubicBezTo>
                  <a:cubicBezTo>
                    <a:pt x="6639592" y="112582"/>
                    <a:pt x="6503194" y="105439"/>
                    <a:pt x="6364795" y="102391"/>
                  </a:cubicBezTo>
                  <a:cubicBezTo>
                    <a:pt x="6295263" y="101057"/>
                    <a:pt x="6225826" y="99819"/>
                    <a:pt x="6154293" y="100581"/>
                  </a:cubicBezTo>
                  <a:cubicBezTo>
                    <a:pt x="6136577" y="100581"/>
                    <a:pt x="6118860" y="100581"/>
                    <a:pt x="6100287" y="101343"/>
                  </a:cubicBezTo>
                  <a:cubicBezTo>
                    <a:pt x="6081903" y="101819"/>
                    <a:pt x="6063615" y="102486"/>
                    <a:pt x="6045327" y="103438"/>
                  </a:cubicBezTo>
                  <a:cubicBezTo>
                    <a:pt x="6008656" y="104962"/>
                    <a:pt x="5972175" y="107439"/>
                    <a:pt x="5935980" y="110296"/>
                  </a:cubicBezTo>
                  <a:cubicBezTo>
                    <a:pt x="5790724" y="121631"/>
                    <a:pt x="5651659" y="142110"/>
                    <a:pt x="5523357" y="157635"/>
                  </a:cubicBezTo>
                  <a:cubicBezTo>
                    <a:pt x="5394484" y="173542"/>
                    <a:pt x="5273040" y="183543"/>
                    <a:pt x="5149882" y="185639"/>
                  </a:cubicBezTo>
                  <a:cubicBezTo>
                    <a:pt x="5027010" y="187925"/>
                    <a:pt x="4902803" y="182210"/>
                    <a:pt x="4777073" y="170685"/>
                  </a:cubicBezTo>
                  <a:lnTo>
                    <a:pt x="4729925" y="166208"/>
                  </a:lnTo>
                  <a:lnTo>
                    <a:pt x="4682585" y="161064"/>
                  </a:lnTo>
                  <a:cubicBezTo>
                    <a:pt x="4666869" y="159445"/>
                    <a:pt x="4650963" y="157350"/>
                    <a:pt x="4635151" y="155445"/>
                  </a:cubicBezTo>
                  <a:lnTo>
                    <a:pt x="4611434" y="152492"/>
                  </a:lnTo>
                  <a:cubicBezTo>
                    <a:pt x="4603623" y="151539"/>
                    <a:pt x="4595622" y="150587"/>
                    <a:pt x="4587145" y="149349"/>
                  </a:cubicBezTo>
                  <a:lnTo>
                    <a:pt x="4387977" y="122774"/>
                  </a:lnTo>
                  <a:lnTo>
                    <a:pt x="3989356" y="68577"/>
                  </a:lnTo>
                  <a:lnTo>
                    <a:pt x="3789140" y="42192"/>
                  </a:lnTo>
                  <a:lnTo>
                    <a:pt x="3689033" y="29143"/>
                  </a:lnTo>
                  <a:lnTo>
                    <a:pt x="3634835" y="22571"/>
                  </a:lnTo>
                  <a:cubicBezTo>
                    <a:pt x="3616452" y="20285"/>
                    <a:pt x="3598069" y="18380"/>
                    <a:pt x="3579876" y="16856"/>
                  </a:cubicBezTo>
                  <a:cubicBezTo>
                    <a:pt x="3433667" y="3140"/>
                    <a:pt x="3289840" y="-1622"/>
                    <a:pt x="3147441" y="473"/>
                  </a:cubicBezTo>
                  <a:cubicBezTo>
                    <a:pt x="3005138" y="2283"/>
                    <a:pt x="2864263" y="10188"/>
                    <a:pt x="2724722" y="22857"/>
                  </a:cubicBezTo>
                  <a:cubicBezTo>
                    <a:pt x="2445353" y="48098"/>
                    <a:pt x="2171129" y="90198"/>
                    <a:pt x="1898428" y="147730"/>
                  </a:cubicBezTo>
                  <a:cubicBezTo>
                    <a:pt x="1830134" y="162208"/>
                    <a:pt x="1762030" y="177448"/>
                    <a:pt x="1692878" y="195069"/>
                  </a:cubicBezTo>
                  <a:lnTo>
                    <a:pt x="1640205" y="208785"/>
                  </a:lnTo>
                  <a:lnTo>
                    <a:pt x="1592294" y="221643"/>
                  </a:lnTo>
                  <a:cubicBezTo>
                    <a:pt x="1561624" y="229740"/>
                    <a:pt x="1530858" y="238503"/>
                    <a:pt x="1500092" y="245551"/>
                  </a:cubicBezTo>
                  <a:cubicBezTo>
                    <a:pt x="1377125" y="276412"/>
                    <a:pt x="1253490" y="300987"/>
                    <a:pt x="1130046" y="318227"/>
                  </a:cubicBezTo>
                  <a:cubicBezTo>
                    <a:pt x="1068229" y="326895"/>
                    <a:pt x="1006602" y="333086"/>
                    <a:pt x="944880" y="337658"/>
                  </a:cubicBezTo>
                  <a:cubicBezTo>
                    <a:pt x="914114" y="339277"/>
                    <a:pt x="883253" y="341563"/>
                    <a:pt x="852583" y="341944"/>
                  </a:cubicBezTo>
                  <a:cubicBezTo>
                    <a:pt x="821817" y="343278"/>
                    <a:pt x="791147" y="342992"/>
                    <a:pt x="760476" y="343087"/>
                  </a:cubicBezTo>
                  <a:cubicBezTo>
                    <a:pt x="699230" y="342135"/>
                    <a:pt x="638175" y="338706"/>
                    <a:pt x="577215" y="332800"/>
                  </a:cubicBezTo>
                  <a:cubicBezTo>
                    <a:pt x="516255" y="326895"/>
                    <a:pt x="455771" y="317179"/>
                    <a:pt x="394907" y="305463"/>
                  </a:cubicBezTo>
                  <a:cubicBezTo>
                    <a:pt x="334137" y="293557"/>
                    <a:pt x="273368" y="278412"/>
                    <a:pt x="211265" y="261363"/>
                  </a:cubicBezTo>
                  <a:cubicBezTo>
                    <a:pt x="149066" y="244123"/>
                    <a:pt x="85820" y="224310"/>
                    <a:pt x="17526" y="204880"/>
                  </a:cubicBezTo>
                  <a:cubicBezTo>
                    <a:pt x="11716" y="203165"/>
                    <a:pt x="5906" y="201546"/>
                    <a:pt x="0" y="199927"/>
                  </a:cubicBezTo>
                  <a:lnTo>
                    <a:pt x="0" y="526920"/>
                  </a:lnTo>
                  <a:cubicBezTo>
                    <a:pt x="32576" y="541874"/>
                    <a:pt x="66104" y="557114"/>
                    <a:pt x="100298" y="571973"/>
                  </a:cubicBezTo>
                  <a:cubicBezTo>
                    <a:pt x="164973" y="600167"/>
                    <a:pt x="232410" y="626456"/>
                    <a:pt x="301562" y="649697"/>
                  </a:cubicBezTo>
                  <a:cubicBezTo>
                    <a:pt x="439865" y="696655"/>
                    <a:pt x="585216" y="728754"/>
                    <a:pt x="731044" y="746947"/>
                  </a:cubicBezTo>
                  <a:cubicBezTo>
                    <a:pt x="876967" y="764664"/>
                    <a:pt x="1023652" y="769426"/>
                    <a:pt x="1168241" y="762759"/>
                  </a:cubicBezTo>
                  <a:cubicBezTo>
                    <a:pt x="1313021" y="756663"/>
                    <a:pt x="1455896" y="740185"/>
                    <a:pt x="1596581" y="716944"/>
                  </a:cubicBezTo>
                  <a:cubicBezTo>
                    <a:pt x="1632014" y="711610"/>
                    <a:pt x="1666685" y="704371"/>
                    <a:pt x="1701641" y="697894"/>
                  </a:cubicBezTo>
                  <a:lnTo>
                    <a:pt x="1752124" y="688273"/>
                  </a:lnTo>
                  <a:lnTo>
                    <a:pt x="1797939" y="679891"/>
                  </a:lnTo>
                  <a:cubicBezTo>
                    <a:pt x="1860328" y="669128"/>
                    <a:pt x="1924431" y="658746"/>
                    <a:pt x="1988630" y="649316"/>
                  </a:cubicBezTo>
                  <a:cubicBezTo>
                    <a:pt x="2117217" y="630838"/>
                    <a:pt x="2246852" y="614645"/>
                    <a:pt x="2376297" y="601691"/>
                  </a:cubicBezTo>
                  <a:cubicBezTo>
                    <a:pt x="2441067" y="595214"/>
                    <a:pt x="2505742" y="589118"/>
                    <a:pt x="2570416" y="584165"/>
                  </a:cubicBezTo>
                  <a:cubicBezTo>
                    <a:pt x="2635091" y="579402"/>
                    <a:pt x="2699671" y="574831"/>
                    <a:pt x="2764155" y="571497"/>
                  </a:cubicBezTo>
                  <a:cubicBezTo>
                    <a:pt x="2828639" y="568068"/>
                    <a:pt x="2892933" y="565401"/>
                    <a:pt x="2956941" y="564163"/>
                  </a:cubicBezTo>
                  <a:cubicBezTo>
                    <a:pt x="3021045" y="562353"/>
                    <a:pt x="3084766" y="561972"/>
                    <a:pt x="3148298" y="562639"/>
                  </a:cubicBezTo>
                  <a:cubicBezTo>
                    <a:pt x="3211735" y="563305"/>
                    <a:pt x="3274695" y="565591"/>
                    <a:pt x="3337274" y="568544"/>
                  </a:cubicBezTo>
                  <a:cubicBezTo>
                    <a:pt x="3399568" y="572259"/>
                    <a:pt x="3461671" y="576259"/>
                    <a:pt x="3522345" y="583308"/>
                  </a:cubicBezTo>
                  <a:cubicBezTo>
                    <a:pt x="3537680" y="584737"/>
                    <a:pt x="3552730" y="586737"/>
                    <a:pt x="3567779" y="588642"/>
                  </a:cubicBezTo>
                  <a:lnTo>
                    <a:pt x="3613785" y="594357"/>
                  </a:lnTo>
                  <a:lnTo>
                    <a:pt x="3713798" y="607882"/>
                  </a:lnTo>
                  <a:lnTo>
                    <a:pt x="3913823" y="634838"/>
                  </a:lnTo>
                  <a:cubicBezTo>
                    <a:pt x="4047268" y="652078"/>
                    <a:pt x="4180904" y="670366"/>
                    <a:pt x="4315873" y="686273"/>
                  </a:cubicBezTo>
                  <a:lnTo>
                    <a:pt x="4517422" y="710086"/>
                  </a:lnTo>
                  <a:cubicBezTo>
                    <a:pt x="4586573" y="717896"/>
                    <a:pt x="4657916" y="725992"/>
                    <a:pt x="4728972" y="731422"/>
                  </a:cubicBezTo>
                  <a:cubicBezTo>
                    <a:pt x="4871371" y="743042"/>
                    <a:pt x="5016627" y="748376"/>
                    <a:pt x="5162931" y="744185"/>
                  </a:cubicBezTo>
                  <a:cubicBezTo>
                    <a:pt x="5308949" y="740566"/>
                    <a:pt x="5456111" y="725611"/>
                    <a:pt x="5594033" y="706466"/>
                  </a:cubicBezTo>
                  <a:cubicBezTo>
                    <a:pt x="5732621" y="687511"/>
                    <a:pt x="5859876" y="667033"/>
                    <a:pt x="5982939" y="655793"/>
                  </a:cubicBezTo>
                  <a:cubicBezTo>
                    <a:pt x="6013799" y="652936"/>
                    <a:pt x="6044375" y="650364"/>
                    <a:pt x="6075045" y="648459"/>
                  </a:cubicBezTo>
                  <a:cubicBezTo>
                    <a:pt x="6105906" y="646363"/>
                    <a:pt x="6135529" y="645125"/>
                    <a:pt x="6167819" y="643887"/>
                  </a:cubicBezTo>
                  <a:cubicBezTo>
                    <a:pt x="6230779" y="641125"/>
                    <a:pt x="6295930" y="640077"/>
                    <a:pt x="6361081" y="639124"/>
                  </a:cubicBezTo>
                  <a:cubicBezTo>
                    <a:pt x="6491955" y="637981"/>
                    <a:pt x="6624638" y="638553"/>
                    <a:pt x="6757321" y="640458"/>
                  </a:cubicBezTo>
                  <a:cubicBezTo>
                    <a:pt x="6890195" y="642553"/>
                    <a:pt x="7023449" y="645030"/>
                    <a:pt x="7156704" y="649030"/>
                  </a:cubicBezTo>
                  <a:cubicBezTo>
                    <a:pt x="7289959" y="652650"/>
                    <a:pt x="7423404" y="656841"/>
                    <a:pt x="7556373" y="662365"/>
                  </a:cubicBezTo>
                  <a:cubicBezTo>
                    <a:pt x="7689152" y="667509"/>
                    <a:pt x="7822502" y="673986"/>
                    <a:pt x="7952328" y="682177"/>
                  </a:cubicBezTo>
                  <a:lnTo>
                    <a:pt x="8000714" y="685511"/>
                  </a:lnTo>
                  <a:cubicBezTo>
                    <a:pt x="8016811" y="686654"/>
                    <a:pt x="8031670" y="688178"/>
                    <a:pt x="8047196" y="689416"/>
                  </a:cubicBezTo>
                  <a:lnTo>
                    <a:pt x="8097965" y="693893"/>
                  </a:lnTo>
                  <a:cubicBezTo>
                    <a:pt x="8116539" y="695417"/>
                    <a:pt x="8134731" y="696846"/>
                    <a:pt x="8152733" y="697894"/>
                  </a:cubicBezTo>
                  <a:cubicBezTo>
                    <a:pt x="8224647" y="701989"/>
                    <a:pt x="8294465" y="704085"/>
                    <a:pt x="8363903" y="705133"/>
                  </a:cubicBezTo>
                  <a:cubicBezTo>
                    <a:pt x="8502777" y="706657"/>
                    <a:pt x="8640223" y="704180"/>
                    <a:pt x="8777764" y="698084"/>
                  </a:cubicBezTo>
                  <a:cubicBezTo>
                    <a:pt x="8912352" y="692083"/>
                    <a:pt x="9046845" y="682749"/>
                    <a:pt x="9182005" y="668366"/>
                  </a:cubicBezTo>
                  <a:lnTo>
                    <a:pt x="9182005" y="351088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0D72B080-CB1B-42BD-BCE2-1AC4297C63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140" y="5085327"/>
            <a:ext cx="9489234" cy="1432237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3200" b="1" dirty="0" err="1">
                <a:solidFill>
                  <a:schemeClr val="accent1"/>
                </a:solidFill>
              </a:rPr>
              <a:t>Damman</a:t>
            </a:r>
            <a:r>
              <a:rPr lang="en-US" sz="3200" b="1" dirty="0">
                <a:solidFill>
                  <a:schemeClr val="accent1"/>
                </a:solidFill>
              </a:rPr>
              <a:t> Airport, Saudi Arabia</a:t>
            </a:r>
            <a:br>
              <a:rPr lang="en-US" sz="3200" dirty="0">
                <a:solidFill>
                  <a:schemeClr val="accent1"/>
                </a:solidFill>
              </a:rPr>
            </a:br>
            <a:r>
              <a:rPr lang="en-US" sz="2000" dirty="0">
                <a:solidFill>
                  <a:schemeClr val="accent1"/>
                </a:solidFill>
              </a:rPr>
              <a:t>- competing with World top 20 cargo airports – Dubai, Abu Dhabi, and Doha</a:t>
            </a:r>
            <a:br>
              <a:rPr lang="en-US" sz="2000" dirty="0">
                <a:solidFill>
                  <a:schemeClr val="accent1"/>
                </a:solidFill>
              </a:rPr>
            </a:br>
            <a:r>
              <a:rPr lang="en-US" sz="2000" dirty="0">
                <a:solidFill>
                  <a:schemeClr val="accent1"/>
                </a:solidFill>
              </a:rPr>
              <a:t>– Private investment to create logistics hub for road and air, and compete within Saudi Arabia with Jeddah and Riyadh airports</a:t>
            </a:r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2AC9D12-9A54-419F-9C43-7BBCF3B5F3A9}"/>
              </a:ext>
            </a:extLst>
          </p:cNvPr>
          <p:cNvSpPr txBox="1"/>
          <p:nvPr/>
        </p:nvSpPr>
        <p:spPr>
          <a:xfrm>
            <a:off x="1664423" y="6517564"/>
            <a:ext cx="23839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aco.sa/cargo-village/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NZ" sz="1100" b="0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C1F9A7D-D015-4C4E-AE75-C55558E70099}"/>
              </a:ext>
            </a:extLst>
          </p:cNvPr>
          <p:cNvSpPr txBox="1">
            <a:spLocks/>
          </p:cNvSpPr>
          <p:nvPr/>
        </p:nvSpPr>
        <p:spPr>
          <a:xfrm>
            <a:off x="9240630" y="75511"/>
            <a:ext cx="2889213" cy="2656541"/>
          </a:xfrm>
          <a:prstGeom prst="rect">
            <a:avLst/>
          </a:prstGeom>
          <a:solidFill>
            <a:srgbClr val="A1ACB2">
              <a:alpha val="56078"/>
            </a:srgbClr>
          </a:solidFill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  <a:t>Road/Air Logistics Hub</a:t>
            </a:r>
            <a:br>
              <a:rPr kumimoji="0" lang="en-US" sz="50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n-US" sz="50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  <a:t>- 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  <a:t>Air Cargo</a:t>
            </a:r>
            <a:b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  <a:t>- Express cargo</a:t>
            </a:r>
            <a:b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  <a:t>- Logistics Zone</a:t>
            </a:r>
            <a:b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  <a:t>- Bonded Zone</a:t>
            </a:r>
            <a:endParaRPr kumimoji="0" lang="en-US" sz="5000" b="0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B854340-8786-42A0-ABDA-3CE6776C955C}"/>
              </a:ext>
            </a:extLst>
          </p:cNvPr>
          <p:cNvSpPr txBox="1"/>
          <p:nvPr/>
        </p:nvSpPr>
        <p:spPr>
          <a:xfrm>
            <a:off x="279918" y="55677"/>
            <a:ext cx="2982688" cy="4001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b="1" dirty="0"/>
              <a:t>CASE STUDY</a:t>
            </a:r>
            <a:endParaRPr lang="en-NZ" sz="2000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ECC1FB-66E3-48CB-8578-600B93A578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80812" y="4097492"/>
            <a:ext cx="1533739" cy="150516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0C23B6-EF56-4B0B-ADFC-D5BE4FB68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52E9-9879-41B1-B3D0-77AFD6060852}" type="slidenum">
              <a:rPr lang="en-NZ" smtClean="0"/>
              <a:t>18</a:t>
            </a:fld>
            <a:endParaRPr lang="en-NZ"/>
          </a:p>
        </p:txBody>
      </p:sp>
      <p:pic>
        <p:nvPicPr>
          <p:cNvPr id="18" name="Picture 1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045CFFF-F31E-4B7C-B115-C60F8CCDBEE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266" y="6423914"/>
            <a:ext cx="1114150" cy="297394"/>
          </a:xfrm>
          <a:prstGeom prst="rect">
            <a:avLst/>
          </a:prstGeom>
        </p:spPr>
      </p:pic>
      <p:sp>
        <p:nvSpPr>
          <p:cNvPr id="20" name="Title 4">
            <a:extLst>
              <a:ext uri="{FF2B5EF4-FFF2-40B4-BE49-F238E27FC236}">
                <a16:creationId xmlns:a16="http://schemas.microsoft.com/office/drawing/2014/main" id="{6F4F1EEA-7E9E-4C2C-9890-7698613F9917}"/>
              </a:ext>
            </a:extLst>
          </p:cNvPr>
          <p:cNvSpPr txBox="1">
            <a:spLocks noChangeArrowheads="1"/>
          </p:cNvSpPr>
          <p:nvPr/>
        </p:nvSpPr>
        <p:spPr>
          <a:xfrm>
            <a:off x="177449" y="3745785"/>
            <a:ext cx="9490075" cy="1431925"/>
          </a:xfrm>
          <a:prstGeom prst="rect">
            <a:avLst/>
          </a:prstGeom>
          <a:ln/>
        </p:spPr>
        <p:txBody>
          <a:bodyPr vert="horz" lIns="91440" tIns="45720" rIns="91440" bIns="45720" rtlCol="0" anchor="t">
            <a:normAutofit fontScale="6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b="1" dirty="0">
                <a:solidFill>
                  <a:schemeClr val="tx2"/>
                </a:solidFill>
              </a:rPr>
              <a:t>Аэропорт </a:t>
            </a:r>
            <a:r>
              <a:rPr lang="ru-RU" altLang="ru-RU" b="1" dirty="0" err="1">
                <a:solidFill>
                  <a:schemeClr val="tx2"/>
                </a:solidFill>
              </a:rPr>
              <a:t>Дамман</a:t>
            </a:r>
            <a:r>
              <a:rPr lang="ru-RU" altLang="ru-RU" b="1" dirty="0">
                <a:solidFill>
                  <a:schemeClr val="tx2"/>
                </a:solidFill>
              </a:rPr>
              <a:t>, Саудовская Аравия</a:t>
            </a:r>
            <a:br>
              <a:rPr lang="ru-RU" altLang="ru-RU" sz="4000" dirty="0">
                <a:solidFill>
                  <a:schemeClr val="tx2"/>
                </a:solidFill>
              </a:rPr>
            </a:br>
            <a:r>
              <a:rPr lang="ru-RU" altLang="ru-RU" sz="3600" dirty="0">
                <a:solidFill>
                  <a:schemeClr val="tx2"/>
                </a:solidFill>
              </a:rPr>
              <a:t>- конкурирует с топ-20 аэропортов в мире - Дубаем, Абу-Даби и Дохой </a:t>
            </a:r>
            <a:br>
              <a:rPr lang="ru-RU" altLang="ru-RU" sz="3600" dirty="0">
                <a:solidFill>
                  <a:schemeClr val="tx2"/>
                </a:solidFill>
              </a:rPr>
            </a:br>
            <a:r>
              <a:rPr lang="ru-RU" altLang="ru-RU" sz="3600" dirty="0">
                <a:solidFill>
                  <a:schemeClr val="tx2"/>
                </a:solidFill>
              </a:rPr>
              <a:t>– частные инвестиции для создания логистического </a:t>
            </a:r>
            <a:r>
              <a:rPr lang="ru-RU" altLang="ru-RU" sz="3600" dirty="0" err="1">
                <a:solidFill>
                  <a:schemeClr val="tx2"/>
                </a:solidFill>
              </a:rPr>
              <a:t>хаба</a:t>
            </a:r>
            <a:r>
              <a:rPr lang="ru-RU" altLang="ru-RU" sz="3600" dirty="0">
                <a:solidFill>
                  <a:schemeClr val="tx2"/>
                </a:solidFill>
              </a:rPr>
              <a:t> автомобильного и воздушного транспорта и конкуренции внутри Саудовской Аравии с аэропортами Джидды и </a:t>
            </a:r>
            <a:r>
              <a:rPr lang="ru-RU" altLang="ru-RU" sz="3600" dirty="0" err="1">
                <a:solidFill>
                  <a:schemeClr val="tx2"/>
                </a:solidFill>
              </a:rPr>
              <a:t>Рияда</a:t>
            </a:r>
            <a:endParaRPr lang="ru-RU" altLang="ru-RU" dirty="0">
              <a:solidFill>
                <a:schemeClr val="tx2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51F646F1-82E4-4DC9-9C4C-8AAE2FFD74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8848" y="-136525"/>
            <a:ext cx="2889250" cy="265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9pPr>
          </a:lstStyle>
          <a:p>
            <a:pPr algn="r">
              <a:lnSpc>
                <a:spcPct val="70000"/>
              </a:lnSpc>
            </a:pPr>
            <a:r>
              <a:rPr lang="ru-RU" altLang="ru-RU" sz="1400" b="1" dirty="0">
                <a:solidFill>
                  <a:srgbClr val="FFFFFF"/>
                </a:solidFill>
                <a:latin typeface="Calibri Light" panose="020F0302020204030204" pitchFamily="34" charset="0"/>
              </a:rPr>
              <a:t>Автомобильный/воздушный логистический </a:t>
            </a:r>
            <a:r>
              <a:rPr lang="ru-RU" altLang="ru-RU" sz="1400" b="1" dirty="0" err="1">
                <a:solidFill>
                  <a:srgbClr val="FFFFFF"/>
                </a:solidFill>
                <a:latin typeface="Calibri Light" panose="020F0302020204030204" pitchFamily="34" charset="0"/>
              </a:rPr>
              <a:t>хаб</a:t>
            </a:r>
            <a:br>
              <a:rPr lang="ru-RU" altLang="ru-RU" sz="3200" dirty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ru-RU" altLang="ru-RU" sz="3200" dirty="0">
                <a:solidFill>
                  <a:srgbClr val="FFFFFF"/>
                </a:solidFill>
                <a:latin typeface="Calibri Light" panose="020F0302020204030204" pitchFamily="34" charset="0"/>
              </a:rPr>
              <a:t>- </a:t>
            </a:r>
            <a:r>
              <a:rPr lang="ru-RU" altLang="ru-RU" sz="2400" dirty="0">
                <a:solidFill>
                  <a:srgbClr val="FFFFFF"/>
                </a:solidFill>
                <a:latin typeface="Calibri Light" panose="020F0302020204030204" pitchFamily="34" charset="0"/>
              </a:rPr>
              <a:t>Грузовые авиаперевозки</a:t>
            </a:r>
            <a:br>
              <a:rPr lang="ru-RU" altLang="ru-RU" sz="2400" dirty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ru-RU" altLang="ru-RU" sz="2400" dirty="0">
                <a:solidFill>
                  <a:srgbClr val="FFFFFF"/>
                </a:solidFill>
                <a:latin typeface="Calibri Light" panose="020F0302020204030204" pitchFamily="34" charset="0"/>
              </a:rPr>
              <a:t>- Экспресс перевозки</a:t>
            </a:r>
            <a:br>
              <a:rPr lang="ru-RU" altLang="ru-RU" sz="2400" dirty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ru-RU" altLang="ru-RU" sz="2400" dirty="0">
                <a:solidFill>
                  <a:srgbClr val="FFFFFF"/>
                </a:solidFill>
                <a:latin typeface="Calibri Light" panose="020F0302020204030204" pitchFamily="34" charset="0"/>
              </a:rPr>
              <a:t>- Логистическая зона</a:t>
            </a:r>
            <a:br>
              <a:rPr lang="ru-RU" altLang="ru-RU" sz="2400" dirty="0">
                <a:solidFill>
                  <a:srgbClr val="FFFFFF"/>
                </a:solidFill>
                <a:latin typeface="Calibri Light" panose="020F0302020204030204" pitchFamily="34" charset="0"/>
              </a:rPr>
            </a:br>
            <a:r>
              <a:rPr lang="ru-RU" altLang="ru-RU" sz="2400" dirty="0">
                <a:solidFill>
                  <a:srgbClr val="FFFFFF"/>
                </a:solidFill>
                <a:latin typeface="Calibri Light" panose="020F0302020204030204" pitchFamily="34" charset="0"/>
              </a:rPr>
              <a:t>- Связанная зона</a:t>
            </a:r>
          </a:p>
        </p:txBody>
      </p:sp>
    </p:spTree>
    <p:extLst>
      <p:ext uri="{BB962C8B-B14F-4D97-AF65-F5344CB8AC3E}">
        <p14:creationId xmlns:p14="http://schemas.microsoft.com/office/powerpoint/2010/main" val="8881890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lane on the runway&#10;&#10;Description automatically generated with low confidence">
            <a:extLst>
              <a:ext uri="{FF2B5EF4-FFF2-40B4-BE49-F238E27FC236}">
                <a16:creationId xmlns:a16="http://schemas.microsoft.com/office/drawing/2014/main" id="{32086C71-44B1-4642-912A-E69B8C874C6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9831CBB7-4817-4B54-A7F9-0AE2D0C47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67029" y="457200"/>
            <a:ext cx="5010912" cy="9144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6BC321D-B05F-4857-8880-97F61B9B78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67791" y="601200"/>
            <a:ext cx="5009388" cy="578936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E580AE-DFC8-4C7A-8653-F0A98A2BB4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6184" y="938022"/>
            <a:ext cx="4389261" cy="118872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B0F0"/>
                </a:solidFill>
              </a:rPr>
              <a:t>Multimodal logistics networks</a:t>
            </a:r>
            <a:endParaRPr lang="en-NZ" dirty="0">
              <a:solidFill>
                <a:srgbClr val="00B0F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CD689-9553-4EF2-91BD-F47DFF15B9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6184" y="2340865"/>
            <a:ext cx="4389262" cy="3788474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rgbClr val="00B0F0"/>
                </a:solidFill>
              </a:rPr>
              <a:t>Road and Rail links can complement the current modal mix between air and maritime transport</a:t>
            </a:r>
          </a:p>
          <a:p>
            <a:r>
              <a:rPr lang="en-GB" dirty="0">
                <a:solidFill>
                  <a:srgbClr val="00B0F0"/>
                </a:solidFill>
              </a:rPr>
              <a:t>Air connectivity is higher price but higher speed</a:t>
            </a:r>
          </a:p>
          <a:p>
            <a:r>
              <a:rPr lang="en-GB" dirty="0">
                <a:solidFill>
                  <a:srgbClr val="00B0F0"/>
                </a:solidFill>
              </a:rPr>
              <a:t>Air Transport enables connectivity for landlocked countries with global supply chains</a:t>
            </a:r>
          </a:p>
          <a:p>
            <a:r>
              <a:rPr lang="en-GB" dirty="0">
                <a:solidFill>
                  <a:srgbClr val="00B0F0"/>
                </a:solidFill>
              </a:rPr>
              <a:t>Air Cargo can attract new investment into strategic logistic hubs and support infrastructure</a:t>
            </a:r>
          </a:p>
          <a:p>
            <a:endParaRPr lang="en-N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24D499-8427-4002-98D1-447F1BC26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6423914"/>
            <a:ext cx="105251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3A98EE3D-8CD1-4C3F-BD1C-C98C9596463C}" type="slidenum">
              <a:rPr lang="en-US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19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07F79A-361A-4D59-A51C-968A20071AFA}"/>
              </a:ext>
            </a:extLst>
          </p:cNvPr>
          <p:cNvSpPr txBox="1"/>
          <p:nvPr/>
        </p:nvSpPr>
        <p:spPr>
          <a:xfrm>
            <a:off x="0" y="6365367"/>
            <a:ext cx="3962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NZ" sz="1200" dirty="0">
                <a:solidFill>
                  <a:schemeClr val="bg2"/>
                </a:solidFill>
              </a:rPr>
              <a:t>https://www.themoscowtimes.com/2012/04/19/more-competition-on-air-routes-to-italy-expected-a14214</a:t>
            </a:r>
            <a:endParaRPr lang="en-NZ" sz="1200">
              <a:solidFill>
                <a:schemeClr val="bg2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548A3BD-237A-4143-B745-55FF7FE8E9A0}"/>
              </a:ext>
            </a:extLst>
          </p:cNvPr>
          <p:cNvSpPr txBox="1">
            <a:spLocks noChangeArrowheads="1"/>
          </p:cNvSpPr>
          <p:nvPr/>
        </p:nvSpPr>
        <p:spPr>
          <a:xfrm>
            <a:off x="682630" y="907581"/>
            <a:ext cx="4841579" cy="1189037"/>
          </a:xfrm>
          <a:prstGeom prst="rect">
            <a:avLst/>
          </a:prstGeom>
          <a:ln/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sz="3200" dirty="0">
                <a:solidFill>
                  <a:schemeClr val="bg1"/>
                </a:solidFill>
                <a:latin typeface="Franklin Gothic Demi" panose="020B0703020102020204" pitchFamily="34" charset="0"/>
              </a:rPr>
              <a:t>Мультимодальные логистические сети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DD6BE69-C452-41FC-ABD5-361ADF5F97FF}"/>
              </a:ext>
            </a:extLst>
          </p:cNvPr>
          <p:cNvSpPr txBox="1">
            <a:spLocks noChangeArrowheads="1"/>
          </p:cNvSpPr>
          <p:nvPr/>
        </p:nvSpPr>
        <p:spPr>
          <a:xfrm>
            <a:off x="514821" y="2192695"/>
            <a:ext cx="6152208" cy="3980518"/>
          </a:xfrm>
          <a:prstGeom prst="rect">
            <a:avLst/>
          </a:prstGeom>
          <a:ln/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3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ru-RU" sz="1800" dirty="0">
                <a:solidFill>
                  <a:schemeClr val="bg1"/>
                </a:solidFill>
                <a:latin typeface="Franklin Gothic Book" panose="020B0503020102020204" pitchFamily="34" charset="0"/>
              </a:rPr>
              <a:t>Автомобильные и железнодорожные связи могут дополнить текущую комбинацию модальностей между воздушным и морским транспортом</a:t>
            </a:r>
          </a:p>
          <a:p>
            <a:r>
              <a:rPr lang="ru-RU" altLang="ru-RU" sz="1800" dirty="0">
                <a:solidFill>
                  <a:schemeClr val="bg1"/>
                </a:solidFill>
                <a:latin typeface="Franklin Gothic Book" panose="020B0503020102020204" pitchFamily="34" charset="0"/>
              </a:rPr>
              <a:t>Воздушные сообщения являются более дорогостоящими, но и более быстрыми</a:t>
            </a:r>
          </a:p>
          <a:p>
            <a:r>
              <a:rPr lang="ru-RU" altLang="ru-RU" sz="1800" dirty="0">
                <a:solidFill>
                  <a:schemeClr val="bg1"/>
                </a:solidFill>
                <a:latin typeface="Franklin Gothic Book" panose="020B0503020102020204" pitchFamily="34" charset="0"/>
              </a:rPr>
              <a:t>Воздушный транспорт обеспечивает связанность стран, не имеющих выхода к морю, с глобальными цепями поставок</a:t>
            </a:r>
          </a:p>
          <a:p>
            <a:r>
              <a:rPr lang="ru-RU" altLang="ru-RU" sz="1800" dirty="0">
                <a:solidFill>
                  <a:schemeClr val="bg1"/>
                </a:solidFill>
                <a:latin typeface="Franklin Gothic Book" panose="020B0503020102020204" pitchFamily="34" charset="0"/>
              </a:rPr>
              <a:t>Грузовые авиаперевозки могут привлечь новые инвестиции в стратегические логистические </a:t>
            </a:r>
            <a:r>
              <a:rPr lang="ru-RU" altLang="ru-RU" sz="1800" dirty="0" err="1">
                <a:solidFill>
                  <a:schemeClr val="bg1"/>
                </a:solidFill>
                <a:latin typeface="Franklin Gothic Book" panose="020B0503020102020204" pitchFamily="34" charset="0"/>
              </a:rPr>
              <a:t>хабы</a:t>
            </a:r>
            <a:r>
              <a:rPr lang="ru-RU" altLang="ru-RU" sz="1800" dirty="0">
                <a:solidFill>
                  <a:schemeClr val="bg1"/>
                </a:solidFill>
                <a:latin typeface="Franklin Gothic Book" panose="020B0503020102020204" pitchFamily="34" charset="0"/>
              </a:rPr>
              <a:t> и вспомогательную инфраструктуру</a:t>
            </a:r>
          </a:p>
          <a:p>
            <a:endParaRPr lang="ru-RU" altLang="ru-RU" sz="1800" dirty="0">
              <a:solidFill>
                <a:schemeClr val="bg1"/>
              </a:solidFill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83387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86190199-1815-4611-ADD4-74D03D779F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22978172"/>
              </p:ext>
            </p:extLst>
          </p:nvPr>
        </p:nvGraphicFramePr>
        <p:xfrm>
          <a:off x="728961" y="760686"/>
          <a:ext cx="5194125" cy="57897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F9BC22AE-1822-4795-8989-AA2856D6A86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4558063"/>
              </p:ext>
            </p:extLst>
          </p:nvPr>
        </p:nvGraphicFramePr>
        <p:xfrm>
          <a:off x="5955499" y="621748"/>
          <a:ext cx="5847725" cy="6030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42CF8466-3BCC-4EB3-AC9E-DCAE3473A7A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0529" y="1146054"/>
            <a:ext cx="532557" cy="838477"/>
          </a:xfrm>
          <a:prstGeom prst="rect">
            <a:avLst/>
          </a:prstGeom>
        </p:spPr>
      </p:pic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45869DC3-52C1-45F3-B285-C3DEAA1E6E1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4131" y="2183543"/>
            <a:ext cx="502564" cy="84488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18C0851-7651-4898-B15E-AD8CD40F6E1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7686" y="3611314"/>
            <a:ext cx="548589" cy="871288"/>
          </a:xfrm>
          <a:prstGeom prst="rect">
            <a:avLst/>
          </a:prstGeom>
        </p:spPr>
      </p:pic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18C5DB25-24DD-4DB7-A4BB-DD776F2F9C9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5885" y="2662918"/>
            <a:ext cx="548589" cy="871288"/>
          </a:xfrm>
          <a:prstGeom prst="rect">
            <a:avLst/>
          </a:prstGeom>
        </p:spPr>
      </p:pic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97DCD8A-7B98-4338-A2C4-33C8AEE2E102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9335" y="2410991"/>
            <a:ext cx="548589" cy="871288"/>
          </a:xfrm>
          <a:prstGeom prst="rect">
            <a:avLst/>
          </a:prstGeom>
        </p:spPr>
      </p:pic>
      <p:pic>
        <p:nvPicPr>
          <p:cNvPr id="17" name="Picture 16" descr="Icon&#10;&#10;Description automatically generated">
            <a:extLst>
              <a:ext uri="{FF2B5EF4-FFF2-40B4-BE49-F238E27FC236}">
                <a16:creationId xmlns:a16="http://schemas.microsoft.com/office/drawing/2014/main" id="{C07DAF14-C37E-44F8-9EC5-C81E0BBA9C48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3263" y="4079769"/>
            <a:ext cx="546704" cy="838477"/>
          </a:xfrm>
          <a:prstGeom prst="rect">
            <a:avLst/>
          </a:prstGeom>
        </p:spPr>
      </p:pic>
      <p:pic>
        <p:nvPicPr>
          <p:cNvPr id="23" name="Picture 22" descr="A picture containing aircraft&#10;&#10;Description automatically generated">
            <a:extLst>
              <a:ext uri="{FF2B5EF4-FFF2-40B4-BE49-F238E27FC236}">
                <a16:creationId xmlns:a16="http://schemas.microsoft.com/office/drawing/2014/main" id="{8DEFCDE6-7600-48D8-A30C-958A296E5307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7284" y="2190445"/>
            <a:ext cx="546704" cy="838477"/>
          </a:xfrm>
          <a:prstGeom prst="rect">
            <a:avLst/>
          </a:prstGeom>
        </p:spPr>
      </p:pic>
      <p:pic>
        <p:nvPicPr>
          <p:cNvPr id="24" name="Picture 23" descr="Logo&#10;&#10;Description automatically generated">
            <a:extLst>
              <a:ext uri="{FF2B5EF4-FFF2-40B4-BE49-F238E27FC236}">
                <a16:creationId xmlns:a16="http://schemas.microsoft.com/office/drawing/2014/main" id="{31214589-083E-4EB8-86A3-FE64F5D5574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0908" y="3442995"/>
            <a:ext cx="502564" cy="844880"/>
          </a:xfrm>
          <a:prstGeom prst="rect">
            <a:avLst/>
          </a:prstGeom>
        </p:spPr>
      </p:pic>
      <p:pic>
        <p:nvPicPr>
          <p:cNvPr id="25" name="Picture 24" descr="Logo&#10;&#10;Description automatically generated">
            <a:extLst>
              <a:ext uri="{FF2B5EF4-FFF2-40B4-BE49-F238E27FC236}">
                <a16:creationId xmlns:a16="http://schemas.microsoft.com/office/drawing/2014/main" id="{DB6B557C-9FB1-419F-9F1D-186D9FC5A76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6760" y="2443802"/>
            <a:ext cx="532557" cy="838477"/>
          </a:xfrm>
          <a:prstGeom prst="rect">
            <a:avLst/>
          </a:prstGeom>
        </p:spPr>
      </p:pic>
      <p:pic>
        <p:nvPicPr>
          <p:cNvPr id="28" name="Picture 27" descr="A picture containing aircraft&#10;&#10;Description automatically generated">
            <a:extLst>
              <a:ext uri="{FF2B5EF4-FFF2-40B4-BE49-F238E27FC236}">
                <a16:creationId xmlns:a16="http://schemas.microsoft.com/office/drawing/2014/main" id="{721D9E0D-B7A5-471D-B2F7-D5F7DDBB4FF3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0466" y="3019092"/>
            <a:ext cx="546704" cy="838477"/>
          </a:xfrm>
          <a:prstGeom prst="rect">
            <a:avLst/>
          </a:prstGeom>
        </p:spPr>
      </p:pic>
      <p:pic>
        <p:nvPicPr>
          <p:cNvPr id="29" name="Picture 28" descr="Logo&#10;&#10;Description automatically generated">
            <a:extLst>
              <a:ext uri="{FF2B5EF4-FFF2-40B4-BE49-F238E27FC236}">
                <a16:creationId xmlns:a16="http://schemas.microsoft.com/office/drawing/2014/main" id="{3C19881F-72F3-47F2-8826-0BAA52ED866D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2681" y="4046958"/>
            <a:ext cx="548589" cy="871288"/>
          </a:xfrm>
          <a:prstGeom prst="rect">
            <a:avLst/>
          </a:prstGeom>
        </p:spPr>
      </p:pic>
      <p:pic>
        <p:nvPicPr>
          <p:cNvPr id="30" name="Picture 29" descr="A picture containing logo&#10;&#10;Description automatically generated">
            <a:extLst>
              <a:ext uri="{FF2B5EF4-FFF2-40B4-BE49-F238E27FC236}">
                <a16:creationId xmlns:a16="http://schemas.microsoft.com/office/drawing/2014/main" id="{B14092A8-67B9-4815-A2B5-834F715DCF95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9113" y="1345067"/>
            <a:ext cx="546704" cy="838476"/>
          </a:xfrm>
          <a:prstGeom prst="rect">
            <a:avLst/>
          </a:prstGeom>
        </p:spPr>
      </p:pic>
      <p:pic>
        <p:nvPicPr>
          <p:cNvPr id="31" name="Picture 30" descr="A picture containing logo&#10;&#10;Description automatically generated">
            <a:extLst>
              <a:ext uri="{FF2B5EF4-FFF2-40B4-BE49-F238E27FC236}">
                <a16:creationId xmlns:a16="http://schemas.microsoft.com/office/drawing/2014/main" id="{A033DB39-E1C2-4582-BD8A-CBD8E75F6187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3424" y="3727482"/>
            <a:ext cx="546704" cy="838476"/>
          </a:xfrm>
          <a:prstGeom prst="rect">
            <a:avLst/>
          </a:prstGeom>
        </p:spPr>
      </p:pic>
      <p:pic>
        <p:nvPicPr>
          <p:cNvPr id="32" name="Picture 31" descr="Icon&#10;&#10;Description automatically generated">
            <a:extLst>
              <a:ext uri="{FF2B5EF4-FFF2-40B4-BE49-F238E27FC236}">
                <a16:creationId xmlns:a16="http://schemas.microsoft.com/office/drawing/2014/main" id="{4DC9DEDC-D27A-4BB7-A37C-4AA2B72E8F19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3308" y="1927618"/>
            <a:ext cx="546704" cy="838477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87C600A-84C4-4BB2-B269-F42D4E6AD17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852" y="1565292"/>
            <a:ext cx="548589" cy="871288"/>
          </a:xfrm>
          <a:prstGeom prst="rect">
            <a:avLst/>
          </a:prstGeom>
        </p:spPr>
      </p:pic>
      <p:pic>
        <p:nvPicPr>
          <p:cNvPr id="34" name="Picture 33" descr="Logo&#10;&#10;Description automatically generated">
            <a:extLst>
              <a:ext uri="{FF2B5EF4-FFF2-40B4-BE49-F238E27FC236}">
                <a16:creationId xmlns:a16="http://schemas.microsoft.com/office/drawing/2014/main" id="{48BA4D70-0F64-422E-BEF6-04A7CCDD9B8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39290" y="1339139"/>
            <a:ext cx="548589" cy="871288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2DF96CAF-6912-4ACC-BACC-4BE24C5D1BB8}"/>
              </a:ext>
            </a:extLst>
          </p:cNvPr>
          <p:cNvSpPr txBox="1"/>
          <p:nvPr/>
        </p:nvSpPr>
        <p:spPr>
          <a:xfrm>
            <a:off x="1598182" y="6334780"/>
            <a:ext cx="581127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Source: CAREC Aviation scoping Study 2018 (pre-COVID 19)</a:t>
            </a:r>
          </a:p>
          <a:p>
            <a:r>
              <a:rPr lang="ru-RU" sz="1400" dirty="0"/>
              <a:t>Источник: Обзорное исследование авиации ЦАРЭС, 2018 г. (до COVID 19).</a:t>
            </a:r>
            <a:endParaRPr lang="en-NZ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60C209-D36D-4C34-964D-2B8012529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29355"/>
            <a:ext cx="11029616" cy="424283"/>
          </a:xfrm>
        </p:spPr>
        <p:txBody>
          <a:bodyPr>
            <a:noAutofit/>
          </a:bodyPr>
          <a:lstStyle/>
          <a:p>
            <a:r>
              <a:rPr lang="en-US" sz="1800" dirty="0">
                <a:solidFill>
                  <a:schemeClr val="accent2"/>
                </a:solidFill>
              </a:rPr>
              <a:t>In 2017/2018, Intra-</a:t>
            </a:r>
            <a:r>
              <a:rPr lang="en-US" sz="1800" dirty="0" err="1">
                <a:solidFill>
                  <a:schemeClr val="accent2"/>
                </a:solidFill>
              </a:rPr>
              <a:t>carec</a:t>
            </a:r>
            <a:r>
              <a:rPr lang="en-US" sz="1800" dirty="0">
                <a:solidFill>
                  <a:schemeClr val="accent2"/>
                </a:solidFill>
              </a:rPr>
              <a:t> </a:t>
            </a:r>
            <a:r>
              <a:rPr lang="en-US" sz="1800" dirty="0" err="1">
                <a:solidFill>
                  <a:schemeClr val="accent2"/>
                </a:solidFill>
              </a:rPr>
              <a:t>bilaterals</a:t>
            </a:r>
            <a:r>
              <a:rPr lang="en-US" sz="1800" dirty="0">
                <a:solidFill>
                  <a:schemeClr val="accent2"/>
                </a:solidFill>
              </a:rPr>
              <a:t> crucial to increase Cargo growth</a:t>
            </a:r>
            <a:endParaRPr lang="en-NZ" sz="1800" dirty="0">
              <a:solidFill>
                <a:schemeClr val="accent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84FA42-7A1A-4D5E-88A3-4897DCBAB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2</a:t>
            </a:fld>
            <a:endParaRPr lang="en-US" dirty="0"/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9B76BFFE-5B07-448E-8D99-1DD5ADDD31B4}"/>
              </a:ext>
            </a:extLst>
          </p:cNvPr>
          <p:cNvSpPr txBox="1">
            <a:spLocks noChangeArrowheads="1"/>
          </p:cNvSpPr>
          <p:nvPr/>
        </p:nvSpPr>
        <p:spPr>
          <a:xfrm>
            <a:off x="63430" y="722191"/>
            <a:ext cx="11029950" cy="423863"/>
          </a:xfrm>
          <a:prstGeom prst="rect">
            <a:avLst/>
          </a:prstGeom>
          <a:ln/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sz="1600" dirty="0">
                <a:latin typeface="Franklin Gothic Demi" panose="020B0703020102020204" pitchFamily="34" charset="0"/>
              </a:rPr>
              <a:t>В 2017/2018 годах двусторонние отношения внутри ЦАРЭС играли ключевое</a:t>
            </a:r>
            <a:r>
              <a:rPr lang="en-US" altLang="ru-RU" sz="1600" dirty="0">
                <a:latin typeface="Franklin Gothic Demi" panose="020B0703020102020204" pitchFamily="34" charset="0"/>
              </a:rPr>
              <a:t> </a:t>
            </a:r>
            <a:r>
              <a:rPr lang="ru-RU" altLang="ru-RU" sz="1600" dirty="0">
                <a:latin typeface="Franklin Gothic Demi" panose="020B0703020102020204" pitchFamily="34" charset="0"/>
              </a:rPr>
              <a:t>значение для увеличения грузопотока</a:t>
            </a:r>
          </a:p>
        </p:txBody>
      </p:sp>
    </p:spTree>
    <p:extLst>
      <p:ext uri="{BB962C8B-B14F-4D97-AF65-F5344CB8AC3E}">
        <p14:creationId xmlns:p14="http://schemas.microsoft.com/office/powerpoint/2010/main" val="1894922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E6C8E6EB-4C59-429B-97E4-72A058CFC4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5B90362-AFCC-46A9-B41C-A257A8C5B3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71EF7F1-38BA-471D-8CD4-2A9AE8E355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0524398-BFB4-4C4A-8317-83B8729F9B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3085764"/>
            <a:ext cx="11298932" cy="3338149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8D4B6A-8113-4DFB-B82E-B60CAC8E0A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822E561-F97C-4CBB-A9A6-A6BF6317BC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DB82918-1BC0-4C99-9400-43C1406EC5CF}"/>
              </a:ext>
            </a:extLst>
          </p:cNvPr>
          <p:cNvSpPr/>
          <p:nvPr/>
        </p:nvSpPr>
        <p:spPr bwMode="auto">
          <a:xfrm>
            <a:off x="638620" y="2481943"/>
            <a:ext cx="11033976" cy="3338149"/>
          </a:xfrm>
          <a:prstGeom prst="rect">
            <a:avLst/>
          </a:prstGeom>
        </p:spPr>
        <p:txBody>
          <a:bodyPr vert="horz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all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Demi" panose="020B0502020104020203"/>
                <a:ea typeface="+mn-ea"/>
                <a:cs typeface="+mn-cs"/>
              </a:rPr>
              <a:t>Спасибо</a:t>
            </a:r>
            <a:r>
              <a:rPr kumimoji="0" lang="en-US" sz="36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Demi" panose="020B0502020104020203"/>
                <a:ea typeface="+mn-ea"/>
                <a:cs typeface="+mn-cs"/>
              </a:rPr>
              <a:t> </a:t>
            </a:r>
            <a:r>
              <a:rPr kumimoji="0" lang="en-US" sz="3600" b="0" i="0" u="none" strike="noStrike" kern="1200" cap="all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Demi" panose="020B0502020104020203"/>
                <a:ea typeface="+mn-ea"/>
                <a:cs typeface="+mn-cs"/>
              </a:rPr>
              <a:t>за</a:t>
            </a:r>
            <a:r>
              <a:rPr kumimoji="0" lang="en-US" sz="36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Demi" panose="020B0502020104020203"/>
                <a:ea typeface="+mn-ea"/>
                <a:cs typeface="+mn-cs"/>
              </a:rPr>
              <a:t> </a:t>
            </a:r>
            <a:r>
              <a:rPr kumimoji="0" lang="en-US" sz="3600" b="0" i="0" u="none" strike="noStrike" kern="1200" cap="all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Demi" panose="020B0502020104020203"/>
                <a:ea typeface="+mn-ea"/>
                <a:cs typeface="+mn-cs"/>
              </a:rPr>
              <a:t>внимание</a:t>
            </a:r>
            <a:r>
              <a:rPr kumimoji="0" lang="en-US" sz="36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Demi" panose="020B0502020104020203"/>
                <a:ea typeface="+mn-ea"/>
                <a:cs typeface="+mn-cs"/>
              </a:rPr>
              <a:t>!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Demi" panose="020B0502020104020203"/>
              <a:ea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Demi" panose="020B0502020104020203"/>
                <a:ea typeface="+mn-ea"/>
                <a:cs typeface="+mn-cs"/>
              </a:rPr>
              <a:t>Thank you!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Demi" panose="020B0502020104020203"/>
              <a:ea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Demi" panose="020B0502020104020203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01B0E58-A5C8-4CDA-A2E0-35DF94E59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8620" y="457200"/>
            <a:ext cx="3511233" cy="9143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308738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6E0EE44-6CD7-47E7-85F6-97F470411F9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02013"/>
            <a:ext cx="12192000" cy="562816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CE2FC7F-2917-4D82-BE9C-48EC8C859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505639"/>
            <a:ext cx="11029616" cy="611078"/>
          </a:xfrm>
        </p:spPr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CAREC INTER-REGIONAL FLIGHTS – FEB 2019</a:t>
            </a:r>
            <a:endParaRPr lang="en-NZ" dirty="0">
              <a:solidFill>
                <a:schemeClr val="accent2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AB713A3-0435-4E29-95F7-2DB8B24E1F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7118" y="4261808"/>
            <a:ext cx="4464997" cy="2162106"/>
          </a:xfrm>
        </p:spPr>
        <p:txBody>
          <a:bodyPr>
            <a:normAutofit fontScale="85000" lnSpcReduction="10000"/>
          </a:bodyPr>
          <a:lstStyle/>
          <a:p>
            <a:r>
              <a:rPr lang="en-US" sz="2000" dirty="0">
                <a:solidFill>
                  <a:schemeClr val="accent2"/>
                </a:solidFill>
              </a:rPr>
              <a:t>Intermittent schedules intra-CAREC continued in February 2019 (pre-COVID)</a:t>
            </a:r>
          </a:p>
          <a:p>
            <a:r>
              <a:rPr lang="en-US" sz="2000" dirty="0">
                <a:solidFill>
                  <a:schemeClr val="accent2"/>
                </a:solidFill>
              </a:rPr>
              <a:t>Potential to increase regional connectivity within CAREC, for both passenger &amp; cargo</a:t>
            </a:r>
          </a:p>
          <a:p>
            <a:r>
              <a:rPr lang="en-US" sz="2000" dirty="0">
                <a:solidFill>
                  <a:schemeClr val="accent2"/>
                </a:solidFill>
              </a:rPr>
              <a:t>Secondary city connectivity by air can facilitate same-day, e-cargo shipments</a:t>
            </a:r>
            <a:endParaRPr lang="en-NZ" sz="2000" dirty="0">
              <a:solidFill>
                <a:schemeClr val="accent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2578452-7447-42C9-B5EE-1B8333ADE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52E9-9879-41B1-B3D0-77AFD6060852}" type="slidenum">
              <a:rPr lang="en-NZ" smtClean="0"/>
              <a:t>3</a:t>
            </a:fld>
            <a:endParaRPr lang="en-NZ"/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E01BB3D-E449-4C1A-9EC9-8948AD148D2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266" y="6423914"/>
            <a:ext cx="1114150" cy="29739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1665582-ACE1-4F9B-9A2D-A48C59275E0D}"/>
              </a:ext>
            </a:extLst>
          </p:cNvPr>
          <p:cNvSpPr txBox="1"/>
          <p:nvPr/>
        </p:nvSpPr>
        <p:spPr>
          <a:xfrm>
            <a:off x="4727642" y="6562048"/>
            <a:ext cx="598914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Eagle Aviation Consulting Analysis – based on full passenger schedule Feb 2019, pre-COVID pandemic</a:t>
            </a:r>
            <a:endParaRPr lang="en-NZ" sz="1050" dirty="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BA728F74-5DF8-4E9C-A837-B581A6BB912B}"/>
              </a:ext>
            </a:extLst>
          </p:cNvPr>
          <p:cNvSpPr txBox="1">
            <a:spLocks noChangeArrowheads="1"/>
          </p:cNvSpPr>
          <p:nvPr/>
        </p:nvSpPr>
        <p:spPr>
          <a:xfrm>
            <a:off x="580858" y="-84235"/>
            <a:ext cx="11029950" cy="611188"/>
          </a:xfrm>
          <a:prstGeom prst="rect">
            <a:avLst/>
          </a:prstGeom>
          <a:ln/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>
                <a:latin typeface="Franklin Gothic Demi" panose="020B0703020102020204" pitchFamily="34" charset="0"/>
              </a:rPr>
              <a:t>ВНУТРИРЕГИОНАЛЬНЫЕ РЕЙСЫ В ЦАРЭС - ФЕВРАЛЬ 2019 Г.</a:t>
            </a:r>
            <a:endParaRPr lang="ru-RU" altLang="ru-RU" dirty="0">
              <a:latin typeface="Franklin Gothic Demi" panose="020B0703020102020204" pitchFamily="34" charset="0"/>
            </a:endParaRP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FAA73CED-0A21-4735-9F88-80DAF7BA2EF9}"/>
              </a:ext>
            </a:extLst>
          </p:cNvPr>
          <p:cNvSpPr txBox="1">
            <a:spLocks noChangeArrowheads="1"/>
          </p:cNvSpPr>
          <p:nvPr/>
        </p:nvSpPr>
        <p:spPr>
          <a:xfrm>
            <a:off x="7197118" y="1447367"/>
            <a:ext cx="4465637" cy="2162175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lIns="91440" tIns="45720" rIns="91440" bIns="45720" rtlCol="0" anchor="ctr">
            <a:noAutofit/>
          </a:bodyPr>
          <a:lstStyle>
            <a:lvl1pPr marL="306000" indent="-306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3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ru-RU" altLang="ru-RU" sz="1600" dirty="0">
                <a:latin typeface="Franklin Gothic Book" panose="020B0503020102020204" pitchFamily="34" charset="0"/>
              </a:rPr>
              <a:t>Нерегулярные рейсы внутри ЦАРЭС продолжились в феврале 2019 г. (до КОВИД)</a:t>
            </a:r>
          </a:p>
          <a:p>
            <a:pPr>
              <a:lnSpc>
                <a:spcPct val="100000"/>
              </a:lnSpc>
            </a:pPr>
            <a:r>
              <a:rPr lang="ru-RU" altLang="ru-RU" sz="1600" dirty="0">
                <a:latin typeface="Franklin Gothic Book" panose="020B0503020102020204" pitchFamily="34" charset="0"/>
              </a:rPr>
              <a:t>Потенциал повышения региональной связанности внутри ЦАРЭС, как в отношении пассажиров, так и в отношении грузов</a:t>
            </a:r>
          </a:p>
          <a:p>
            <a:pPr>
              <a:lnSpc>
                <a:spcPct val="100000"/>
              </a:lnSpc>
            </a:pPr>
            <a:r>
              <a:rPr lang="ru-RU" altLang="ru-RU" sz="1600" dirty="0">
                <a:latin typeface="Franklin Gothic Book" panose="020B0503020102020204" pitchFamily="34" charset="0"/>
              </a:rPr>
              <a:t>Воздушное сообщение между второстепенными городами может способствовать поставкам грузов электронной коммерции день в день</a:t>
            </a:r>
          </a:p>
        </p:txBody>
      </p:sp>
    </p:spTree>
    <p:extLst>
      <p:ext uri="{BB962C8B-B14F-4D97-AF65-F5344CB8AC3E}">
        <p14:creationId xmlns:p14="http://schemas.microsoft.com/office/powerpoint/2010/main" val="4876722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E5BF23-B019-482F-A5BF-2F053FF89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445509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accent2"/>
                </a:solidFill>
              </a:rPr>
              <a:t>How ready is CAREC to handle increased cargo volumes?</a:t>
            </a:r>
            <a:endParaRPr lang="en-NZ" dirty="0">
              <a:solidFill>
                <a:schemeClr val="accent2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D2B4404-8E8B-4678-AF8F-FFE12099912F}"/>
              </a:ext>
            </a:extLst>
          </p:cNvPr>
          <p:cNvGrpSpPr/>
          <p:nvPr/>
        </p:nvGrpSpPr>
        <p:grpSpPr>
          <a:xfrm>
            <a:off x="141288" y="1147665"/>
            <a:ext cx="9674516" cy="4721323"/>
            <a:chOff x="141288" y="1547813"/>
            <a:chExt cx="8858250" cy="4321175"/>
          </a:xfrm>
          <a:gradFill flip="none" rotWithShape="1">
            <a:gsLst>
              <a:gs pos="0">
                <a:sysClr val="window" lastClr="FFFFFF">
                  <a:lumMod val="75000"/>
                </a:sysClr>
              </a:gs>
              <a:gs pos="100000">
                <a:sysClr val="window" lastClr="FFFFFF">
                  <a:lumMod val="85000"/>
                </a:sysClr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127000" dist="508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11F6E8FB-BABE-4B03-A7BB-108BBD72AB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1288" y="1836738"/>
              <a:ext cx="1236662" cy="534987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54F317F2-7785-41DB-A62F-ADE475B8D859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1221" y="4584699"/>
              <a:ext cx="222250" cy="222250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4FDD5CF4-A946-422D-83B5-C8D5D335B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1875" y="4341813"/>
              <a:ext cx="334962" cy="322263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00D2B1BB-67C2-496B-BBA3-A6099E8ED009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4488" y="3460751"/>
              <a:ext cx="295275" cy="201613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6C1EF147-5497-4DEB-815C-76AA1214431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41738" y="3181351"/>
              <a:ext cx="241300" cy="206375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FDDB81A5-CC1F-4857-9FD4-58EF78774B3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84775" y="3025776"/>
              <a:ext cx="17462" cy="38100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80DE001-D67F-4F37-A723-BCFC0A118E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683250" y="2605088"/>
              <a:ext cx="476250" cy="268288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9ADF3AD0-6B20-4877-AEDF-D0A0E1E9DE06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6600" y="3319463"/>
              <a:ext cx="244475" cy="47942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CE3B2FA-C2B5-4342-A1B0-AEB883E09D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120900" y="3683001"/>
              <a:ext cx="384175" cy="374650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4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188413C5-101D-490D-AFC7-B1AE56F261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50913" y="2481263"/>
              <a:ext cx="1576387" cy="781050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6C217A8-E692-45E8-873D-473FA0253A8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075" y="5056188"/>
              <a:ext cx="149225" cy="15398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D82922E-6F63-4D6D-9CB7-62D185F897B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65588" y="2133601"/>
              <a:ext cx="231775" cy="331788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3C1E8337-A6F3-40B7-B323-4231D59D274C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2613" y="3217863"/>
              <a:ext cx="134937" cy="12858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68709578-ACA1-4AF7-91C0-D4CBE93630D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6950" y="2389188"/>
              <a:ext cx="449262" cy="252413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9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4DFAA0E0-4D80-4499-B74C-AF9D72D7B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2538" y="3943351"/>
              <a:ext cx="157162" cy="185738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0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CA4F935-DA44-45B0-B2EC-243A952510FB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0225" y="2692401"/>
              <a:ext cx="406400" cy="242888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1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1F917FF6-D3B4-430E-9A16-28E58D4C0AB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99025" y="2711451"/>
              <a:ext cx="534987" cy="20320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2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DE0C5D44-1041-4419-9754-124E5D33229F}"/>
                </a:ext>
              </a:extLst>
            </p:cNvPr>
            <p:cNvSpPr>
              <a:spLocks/>
            </p:cNvSpPr>
            <p:nvPr/>
          </p:nvSpPr>
          <p:spPr bwMode="gray">
            <a:xfrm>
              <a:off x="4433888" y="2868613"/>
              <a:ext cx="109537" cy="228600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3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172CB624-2AB4-4577-9864-ECF1F6CF96F2}"/>
                </a:ext>
              </a:extLst>
            </p:cNvPr>
            <p:cNvSpPr>
              <a:spLocks/>
            </p:cNvSpPr>
            <p:nvPr/>
          </p:nvSpPr>
          <p:spPr bwMode="gray">
            <a:xfrm>
              <a:off x="4210050" y="3719513"/>
              <a:ext cx="57150" cy="16192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4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135D67E-0351-4E5C-BE4A-E9342C6087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969125" y="3416301"/>
              <a:ext cx="249237" cy="477838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5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1F0B5304-F1C4-48C5-849B-2481CF4E585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60950" y="4111626"/>
              <a:ext cx="309562" cy="34925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6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C7216C7-ABDC-46A5-A835-8171F719A42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388" y="2749551"/>
              <a:ext cx="222250" cy="141288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7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F40640D4-29BC-4511-B41E-95B5B77976DB}"/>
                </a:ext>
              </a:extLst>
            </p:cNvPr>
            <p:cNvSpPr>
              <a:spLocks/>
            </p:cNvSpPr>
            <p:nvPr/>
          </p:nvSpPr>
          <p:spPr bwMode="gray">
            <a:xfrm>
              <a:off x="7577138" y="3257551"/>
              <a:ext cx="47625" cy="107950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C81331-9775-40FA-915C-2610B32DC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89538" y="2865438"/>
              <a:ext cx="180975" cy="166688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3002D49-3780-4743-9C80-BBD057B67C3F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8963" y="2530476"/>
              <a:ext cx="115887" cy="63500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0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7D9893F4-1E5C-4C29-BC91-13EDB07CEB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30725" y="1897063"/>
              <a:ext cx="279400" cy="398463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9EF46D1-1DDD-476C-8849-8CEC173C2DE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0000" y="4911726"/>
              <a:ext cx="41275" cy="53975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B70C2A6B-03D8-4357-B13E-1630BC1056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551113" y="3884613"/>
              <a:ext cx="117475" cy="134938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C22909D7-9FAC-483E-8CA9-8AE22B27E77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288" y="3767138"/>
              <a:ext cx="68262" cy="122238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89B3C23E-33F5-4D5D-9244-3E00F52EF1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97325" y="2660651"/>
              <a:ext cx="352425" cy="247650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C2C9C07D-1222-4A55-8688-BFCEDFF5CF7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89563" y="3687763"/>
              <a:ext cx="287337" cy="446088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8C89AEDF-2D55-4A76-9D7B-7B52B9DB7A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693150" y="4295776"/>
              <a:ext cx="149225" cy="139700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E8B34E1D-200F-45C2-A3C8-A9CA928173B5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4700" y="2557463"/>
              <a:ext cx="84137" cy="49213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0B3F34A7-A924-46D7-B523-DB1BD300F4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70425" y="2476501"/>
              <a:ext cx="144462" cy="5873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120CFB03-0F85-4288-83CF-2FB7E5257834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6988" y="3751263"/>
              <a:ext cx="84137" cy="10795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4643D9F7-F4DB-44FD-A335-7E614E0D9F5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2850" y="3532188"/>
              <a:ext cx="168275" cy="147638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1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3CC477BD-7DA2-4564-B3EC-07DD9992BC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84775" y="3035301"/>
              <a:ext cx="596900" cy="512763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F83090E9-F467-486A-B10E-3FF4F7B7896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8725" y="4111626"/>
              <a:ext cx="60325" cy="58738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3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059F91E7-DDDA-4DC5-AD41-C1CC3C34394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04175" y="2178051"/>
              <a:ext cx="122237" cy="482600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08A13EEF-8A03-489D-89CB-4FE515BA125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37100" y="1582738"/>
              <a:ext cx="3641725" cy="1158875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5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8E311BF8-C6E2-4742-8A04-D262C685AF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0913" y="2517776"/>
              <a:ext cx="247650" cy="147638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6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43AD734A-E725-467E-BEDF-AC112205ECA9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1975" y="3227388"/>
              <a:ext cx="26987" cy="5715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7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8DDE452-8295-40E8-B98D-3A2F3F24DC5B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2513" y="3481388"/>
              <a:ext cx="55562" cy="2381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8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E7138F5C-C73D-44DA-84B8-A1973248AD0D}"/>
                </a:ext>
              </a:extLst>
            </p:cNvPr>
            <p:cNvSpPr>
              <a:spLocks/>
            </p:cNvSpPr>
            <p:nvPr/>
          </p:nvSpPr>
          <p:spPr bwMode="gray">
            <a:xfrm>
              <a:off x="3983038" y="2714626"/>
              <a:ext cx="92075" cy="165100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9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E5F5EF3-6DDD-464D-9874-BD247A48C4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2163" y="2312988"/>
              <a:ext cx="250825" cy="180975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0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7FA6FF17-A569-461C-BA59-8BB906C568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62850" y="3470276"/>
              <a:ext cx="287337" cy="484188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FFCA9575-C114-4B28-B44E-1903F1240E36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5950" y="4076701"/>
              <a:ext cx="377825" cy="600075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2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B9A6DB33-EB31-490D-A57D-A580C59352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463800" y="4702176"/>
              <a:ext cx="241300" cy="273050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3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75F0F524-FCB7-4AA5-819D-2860D9C0E2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35950" y="4138613"/>
              <a:ext cx="438150" cy="29210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4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E3ED80A7-F46C-4F1A-A135-59F8719BA29D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4675" y="3767138"/>
              <a:ext cx="163512" cy="77788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5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39C3D840-4C0A-45B6-822C-E15445EE8B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03913" y="2878138"/>
              <a:ext cx="422275" cy="423863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6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F5C90CC9-22BF-41AD-BE99-1B1350A814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67588" y="3517901"/>
              <a:ext cx="38100" cy="25400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7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C5578BE7-3199-4695-B19B-0240FE7BCBF9}"/>
                </a:ext>
              </a:extLst>
            </p:cNvPr>
            <p:cNvSpPr>
              <a:spLocks/>
            </p:cNvSpPr>
            <p:nvPr/>
          </p:nvSpPr>
          <p:spPr bwMode="gray">
            <a:xfrm>
              <a:off x="5686425" y="3265488"/>
              <a:ext cx="217487" cy="271463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8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5664732A-6FE7-4EAB-BF2C-CA98507D37B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89438" y="1612901"/>
              <a:ext cx="547687" cy="601663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9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352ACA9-3363-4B6A-A089-704BC2A01B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4188" y="3627438"/>
              <a:ext cx="336550" cy="311150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0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857E885C-2C9E-42D5-BC24-011F30F89A6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2750" y="3316288"/>
              <a:ext cx="446087" cy="379413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1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E555DC5E-D5CE-43F2-9AE4-F2A9AA76FFC2}"/>
                </a:ext>
              </a:extLst>
            </p:cNvPr>
            <p:cNvSpPr>
              <a:spLocks/>
            </p:cNvSpPr>
            <p:nvPr/>
          </p:nvSpPr>
          <p:spPr bwMode="gray">
            <a:xfrm>
              <a:off x="1722438" y="3597276"/>
              <a:ext cx="131762" cy="133350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2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6902C24-97A2-4501-9C39-7C0FA68DFD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88363" y="5191126"/>
              <a:ext cx="511175" cy="39528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3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7367E33-BA28-4957-9E98-1232D386494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9550" y="2416176"/>
              <a:ext cx="171450" cy="15398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4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6F81B7E4-4AC2-48FF-AE7E-F12943B9D63F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5938" y="2355851"/>
              <a:ext cx="109537" cy="84138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5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3D7B4DEB-121B-4947-8507-F5A3D8F4A108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5725" y="3089276"/>
              <a:ext cx="236537" cy="13335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6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9C70E3EF-28F3-4365-8E2F-9AF298A22AD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6600" y="4627563"/>
              <a:ext cx="384175" cy="39211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7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EF7B76C8-CE3F-439C-9869-DB2B3E3FCC3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07200" y="3152776"/>
              <a:ext cx="255587" cy="603250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8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B699537D-610B-4B03-ABAD-E4B7AC9F70F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0475" y="4418013"/>
              <a:ext cx="307975" cy="538163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69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F6E3FBA9-0545-45C5-BFED-FD8840E2264B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7625" y="2914651"/>
              <a:ext cx="341312" cy="266700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0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52D226AA-6446-49B7-85B4-981620706D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8050" y="2665413"/>
              <a:ext cx="46037" cy="53975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1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DEA414F0-0B1D-4B86-B9A7-E6D485173865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0013" y="2393951"/>
              <a:ext cx="844550" cy="334963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2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51661A86-9F1F-49B0-9E2D-E1C22E4616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921250" y="2511426"/>
              <a:ext cx="87312" cy="95250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3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E74C5863-5F44-4B4C-A880-401B84BC59D2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1875" y="3019426"/>
              <a:ext cx="749300" cy="587375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4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0612F889-18F3-4100-96AC-275952660D5A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1688" y="2903538"/>
              <a:ext cx="12700" cy="11113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5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64B2CA-EFC0-4CAF-A65F-ACFC5B61900D}"/>
                </a:ext>
              </a:extLst>
            </p:cNvPr>
            <p:cNvSpPr>
              <a:spLocks/>
            </p:cNvSpPr>
            <p:nvPr/>
          </p:nvSpPr>
          <p:spPr bwMode="gray">
            <a:xfrm>
              <a:off x="3741738" y="3195638"/>
              <a:ext cx="346075" cy="404813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6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0BFDF7F8-DA85-489D-BF58-ED9F77759790}"/>
                </a:ext>
              </a:extLst>
            </p:cNvPr>
            <p:cNvSpPr>
              <a:spLocks/>
            </p:cNvSpPr>
            <p:nvPr/>
          </p:nvSpPr>
          <p:spPr bwMode="gray">
            <a:xfrm>
              <a:off x="3868738" y="3265488"/>
              <a:ext cx="466725" cy="484188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7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9483E61-3D40-4CF1-B61A-86A53D3E695D}"/>
                </a:ext>
              </a:extLst>
            </p:cNvPr>
            <p:cNvSpPr>
              <a:spLocks/>
            </p:cNvSpPr>
            <p:nvPr/>
          </p:nvSpPr>
          <p:spPr bwMode="gray">
            <a:xfrm>
              <a:off x="7073900" y="3859213"/>
              <a:ext cx="123825" cy="17621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8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24C12104-5AC5-464D-A08A-441949EBE91F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2825" y="3838576"/>
              <a:ext cx="276225" cy="212725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9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99754867-DB55-4329-AB4E-6C926E608431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5088" y="4383088"/>
              <a:ext cx="93662" cy="252413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0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C1646B81-4B8B-4951-A2C0-A6FC9F0A888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19725" y="4476751"/>
              <a:ext cx="239712" cy="438150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1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829AC553-AB73-4074-859C-9A32AFB9F4F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5200" y="2703513"/>
              <a:ext cx="66675" cy="50800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2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4592F5D-14BD-4EC9-AB44-3404E40664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2613" y="2459038"/>
              <a:ext cx="20637" cy="17463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3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264C185-972A-4527-B7F5-1345EF09A0AC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4088" y="2262188"/>
              <a:ext cx="136525" cy="79375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4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B568254D-7B88-4280-A8A1-E8F5D50B2E3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3100" y="2546351"/>
              <a:ext cx="6350" cy="9525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5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5C92FB4E-A735-45A8-A9F2-EF9027C37C65}"/>
                </a:ext>
              </a:extLst>
            </p:cNvPr>
            <p:cNvSpPr>
              <a:spLocks/>
            </p:cNvSpPr>
            <p:nvPr/>
          </p:nvSpPr>
          <p:spPr bwMode="gray">
            <a:xfrm>
              <a:off x="4479925" y="3000376"/>
              <a:ext cx="442912" cy="446088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6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787BA31F-EB38-4DFD-ADE2-DEF2F8765F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8263" y="3798888"/>
              <a:ext cx="123825" cy="139700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7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1934587D-8BA4-4452-ACD8-7A4209F34D3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68875" y="5006976"/>
              <a:ext cx="66675" cy="6508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8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E75F79A7-5EB1-48BA-848C-1D80920A6B9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6838" y="2954338"/>
              <a:ext cx="42862" cy="63500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9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5A008B57-D682-43B7-A65A-B70A7B956948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0913" y="2212976"/>
              <a:ext cx="171450" cy="7302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0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B7F629E1-F724-450A-9966-35459A6449F4}"/>
                </a:ext>
              </a:extLst>
            </p:cNvPr>
            <p:cNvSpPr>
              <a:spLocks/>
            </p:cNvSpPr>
            <p:nvPr/>
          </p:nvSpPr>
          <p:spPr bwMode="gray">
            <a:xfrm>
              <a:off x="7034213" y="3348038"/>
              <a:ext cx="241300" cy="279400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1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4D7F072-CB78-488C-998A-21EBA1616C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7900" y="2680205"/>
              <a:ext cx="269875" cy="125413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2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03DF5C7A-68CE-41F5-A3C8-BB5A563890A6}"/>
                </a:ext>
              </a:extLst>
            </p:cNvPr>
            <p:cNvSpPr>
              <a:spLocks/>
            </p:cNvSpPr>
            <p:nvPr/>
          </p:nvSpPr>
          <p:spPr bwMode="gray">
            <a:xfrm>
              <a:off x="5510213" y="3103563"/>
              <a:ext cx="55562" cy="49213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3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3035EB34-2EDA-40D9-A03A-7DCAB17980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12063" y="2828926"/>
              <a:ext cx="109537" cy="171450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4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0816EDD4-D31F-4B39-85EA-40A770450E4E}"/>
                </a:ext>
              </a:extLst>
            </p:cNvPr>
            <p:cNvSpPr>
              <a:spLocks/>
            </p:cNvSpPr>
            <p:nvPr/>
          </p:nvSpPr>
          <p:spPr bwMode="gray">
            <a:xfrm>
              <a:off x="7519988" y="2687638"/>
              <a:ext cx="131762" cy="16827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969696">
                <a:lumMod val="60000"/>
                <a:lumOff val="40000"/>
              </a:srgb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5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CECACB3F-FBB3-4461-AF56-2BB6F179EB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189538" y="3925888"/>
              <a:ext cx="225425" cy="306388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6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3860316-3E61-4CB8-9793-2CFCAC41405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19725" y="2295526"/>
              <a:ext cx="1012825" cy="468313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7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9715D529-3823-45E8-B1FB-102B9E73D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89538" y="2998788"/>
              <a:ext cx="112712" cy="134938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8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4335FABD-8390-499A-9310-B866B47A68A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0" y="3481388"/>
              <a:ext cx="63500" cy="20638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99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A0487113-B8A6-49D2-87B2-8B5729A1237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73975" y="2605088"/>
              <a:ext cx="352425" cy="687388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0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0697F044-4189-46DC-B489-CD86F7AEA7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11663" y="2552701"/>
              <a:ext cx="312737" cy="334963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1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91E48B03-6CF3-48DD-87D6-5C6E4DA44CE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5725" y="2994026"/>
              <a:ext cx="41275" cy="128588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2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EEE5A61-3E60-45FF-8FFE-93D158DFFB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0500" y="2298701"/>
              <a:ext cx="112712" cy="119063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3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2740A04B-2F47-4A28-8BFD-C2FA6844ED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83200" y="2868613"/>
              <a:ext cx="276225" cy="265113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4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65984028-CA97-4A0D-8AE4-567C1E91105C}"/>
                </a:ext>
              </a:extLst>
            </p:cNvPr>
            <p:cNvSpPr>
              <a:spLocks/>
            </p:cNvSpPr>
            <p:nvPr/>
          </p:nvSpPr>
          <p:spPr bwMode="gray">
            <a:xfrm>
              <a:off x="5400675" y="2787651"/>
              <a:ext cx="579437" cy="474663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5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A0486194-4784-4BED-8498-1FBC6462DF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938963" y="3894138"/>
              <a:ext cx="1314450" cy="523875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6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7F2D625B-6098-4386-8082-E56CE9D6B1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34100" y="2909888"/>
              <a:ext cx="785812" cy="949325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7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C35126E-4423-4805-9C9F-A5F8FFD7572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7613" y="1966913"/>
              <a:ext cx="230187" cy="88900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8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AEFE73B8-DAA6-4759-B856-35F7BC280439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7725" y="2508251"/>
              <a:ext cx="171450" cy="88900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9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4418FC2D-DD06-4A53-88FC-D616E85A6E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679575" y="3559176"/>
              <a:ext cx="179387" cy="98425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0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AC57EFEB-B6C2-4FA8-A65C-EEE4D83F4859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9313" y="3433763"/>
              <a:ext cx="79375" cy="61913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1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53D18680-E16E-4AD3-BB31-F4820AE186A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47950" y="3890963"/>
              <a:ext cx="82550" cy="11906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2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D86B2E9F-8C5A-4244-8260-D8F75FADDE4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5863" y="3803651"/>
              <a:ext cx="131762" cy="23495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3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5209C292-3EE3-4B5E-9E1F-2E09D316C6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51263" y="3663951"/>
              <a:ext cx="74612" cy="63500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4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785FABB6-A46C-497B-B5E4-42B9CB724DB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7775" y="3667126"/>
              <a:ext cx="209550" cy="177800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5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A4B94F86-D516-48B8-BD2F-1D3A955BA55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95438" y="3497263"/>
              <a:ext cx="119062" cy="134938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6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356AA310-0B21-4B5E-8D8C-D92580F547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84500" y="1547813"/>
              <a:ext cx="1127125" cy="614363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7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D4DCE710-7C39-4D6B-A38F-8931286955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3613" y="2724151"/>
              <a:ext cx="214312" cy="222250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8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43D3FF15-E8A0-4637-A662-DB9A19BECC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17975" y="3717926"/>
              <a:ext cx="131762" cy="207963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9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DF653D27-ED5D-4BE3-976D-7BECE3630D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398963" y="2309813"/>
              <a:ext cx="227012" cy="236538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767C58E4-4F1D-4402-ABFC-F5D209F1DE0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8438" y="2665413"/>
              <a:ext cx="185737" cy="8413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1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69E14CC-62D8-44D3-8362-E2B7CECBD23D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8563" y="3630613"/>
              <a:ext cx="85725" cy="20638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2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F4653393-7827-4749-8A1A-7CD6E82638CE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2463" y="3998913"/>
              <a:ext cx="168275" cy="206375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3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7DB4223F-8826-4426-AC18-BA93AF11D06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22738" y="2424113"/>
              <a:ext cx="366712" cy="315913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69696">
                <a:lumMod val="60000"/>
                <a:lumOff val="40000"/>
              </a:srgb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4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19089A-FF40-40AF-A2BC-AD2880E710C3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4400" y="1870076"/>
              <a:ext cx="254000" cy="288925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5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58C3A367-9BB5-4384-9174-350E726FBCB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9375" y="3595688"/>
              <a:ext cx="425450" cy="371475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DFECBB04-D90D-4DB5-BA7E-85AADAF97E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75200" y="2168526"/>
              <a:ext cx="139700" cy="61913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7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0470227E-A5D3-4786-ACFD-2C3B9A1E0FEB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8275" y="3492501"/>
              <a:ext cx="193675" cy="184150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8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D04AAC08-A89E-460F-905A-F1927474B7B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79925" y="4002088"/>
              <a:ext cx="58737" cy="44450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9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5F394A3A-677A-4809-A8A9-BAE33807EC83}"/>
                </a:ext>
              </a:extLst>
            </p:cNvPr>
            <p:cNvSpPr>
              <a:spLocks/>
            </p:cNvSpPr>
            <p:nvPr/>
          </p:nvSpPr>
          <p:spPr bwMode="gray">
            <a:xfrm>
              <a:off x="1651000" y="3609976"/>
              <a:ext cx="68262" cy="4445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0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778B7C1-1BCF-4F33-9428-7CADB52F66D7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3788" y="3051176"/>
              <a:ext cx="317500" cy="323850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1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099270D8-C183-4F57-BCBE-24538C1B85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90713" y="4025901"/>
              <a:ext cx="166687" cy="212725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2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106322CA-F7BD-42B1-907D-CC284AE2C0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56525" y="4344988"/>
              <a:ext cx="100012" cy="47625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3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B7F61BFF-2872-47E1-A7DC-522B3BD6C82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7575" y="3433763"/>
              <a:ext cx="100012" cy="66675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4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815E14CE-9E15-49DA-82B0-B083686F99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02263" y="3667126"/>
              <a:ext cx="47625" cy="5556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5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5E3E2B70-C7ED-47BF-B77A-E2568C950F3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54525" y="2227263"/>
              <a:ext cx="111125" cy="95250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6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D7225B0-F698-421B-A4BA-18CBABDA786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2950" y="2430463"/>
              <a:ext cx="169862" cy="77788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7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D98EB92A-9FAD-4637-A579-11D15FCCB89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99050" y="2922588"/>
              <a:ext cx="60325" cy="34925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8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EFA985D3-7242-41E7-8F37-FA557CFEF9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36738" y="3324226"/>
              <a:ext cx="296862" cy="109538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9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1286FF9A-CDDD-4134-874A-59FC6AA0A1E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4225" y="2573338"/>
              <a:ext cx="147637" cy="111125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40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62B20E4B-3B3E-4EE5-8299-3DD66D907507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5575" y="3730626"/>
              <a:ext cx="176212" cy="20796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41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5639F729-CAD7-4B05-8C0A-E0E0B857FC70}"/>
                </a:ext>
              </a:extLst>
            </p:cNvPr>
            <p:cNvSpPr>
              <a:spLocks/>
            </p:cNvSpPr>
            <p:nvPr/>
          </p:nvSpPr>
          <p:spPr bwMode="gray">
            <a:xfrm>
              <a:off x="1762125" y="3714751"/>
              <a:ext cx="96837" cy="92075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42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46B48B9F-C345-4CC5-B4AA-4C57EEEB74B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5650" y="3903663"/>
              <a:ext cx="542925" cy="611188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43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6E591089-7799-4F61-AC50-36FA21A8C686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0725" y="3957638"/>
              <a:ext cx="215900" cy="280988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44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58535F9A-D664-4184-81E2-53FE3C2D7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7863" y="3673476"/>
              <a:ext cx="349250" cy="541338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45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B8A37D21-1884-48C2-80FC-5F609742B3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30438" y="4649788"/>
              <a:ext cx="465137" cy="1219200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46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CDB36861-20A8-4D6E-9659-9E6945B643E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88075" y="2349501"/>
              <a:ext cx="1473200" cy="1136650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FFD44B"/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47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80E5A5F5-DB36-41C5-9253-F5AC13FA4E00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7400" y="3316288"/>
              <a:ext cx="298450" cy="519113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48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C40613D5-B9C2-4A9B-B108-CE3B732CEE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5975" y="3722688"/>
              <a:ext cx="368300" cy="280988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49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1F76E969-330F-43EA-B054-E41E01C2E86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35050" y="1557338"/>
              <a:ext cx="2243137" cy="1160463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0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F6784644-CDE6-41B7-BC6E-7E69E744BF3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59288" y="3651251"/>
              <a:ext cx="219075" cy="373063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1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0D036A4C-0D7E-474B-B9A8-023A181EDA58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7875" y="3606801"/>
              <a:ext cx="152400" cy="134938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B2B2B2">
                <a:lumMod val="60000"/>
                <a:lumOff val="40000"/>
              </a:srgb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2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35FBE95B-E285-466F-952E-F4C68FD534D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3488" y="4157663"/>
              <a:ext cx="53975" cy="66675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3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226B630D-8A38-4FD1-936F-38FAC11BD76D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6063" y="3590926"/>
              <a:ext cx="230187" cy="180975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4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80C49605-694E-4364-9E6D-568D618E6F20}"/>
                </a:ext>
              </a:extLst>
            </p:cNvPr>
            <p:cNvSpPr>
              <a:spLocks/>
            </p:cNvSpPr>
            <p:nvPr/>
          </p:nvSpPr>
          <p:spPr bwMode="gray">
            <a:xfrm>
              <a:off x="4822825" y="2647951"/>
              <a:ext cx="158750" cy="9048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5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ECE04B61-8809-4FC0-A66C-E2D1F28071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98675" y="3906838"/>
              <a:ext cx="1120775" cy="1266825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B2B2B2">
                <a:lumMod val="60000"/>
                <a:lumOff val="40000"/>
              </a:srgb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6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00EC66F9-024D-4DA2-81E1-00E5F345420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75" y="4654551"/>
              <a:ext cx="260350" cy="293688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7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E6C1BF80-D855-447C-89A5-BA411EB91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643438" y="2611438"/>
              <a:ext cx="106362" cy="95250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8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F7D511A0-0D25-4673-B8E8-79A8FFDE28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3613" y="4392613"/>
              <a:ext cx="358775" cy="427038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9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E49404E7-CDA7-4EF9-984E-808D2E5E4CD4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550" y="3159126"/>
              <a:ext cx="93662" cy="53975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0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5A9570F5-FA4A-445C-843F-D369DC9E782F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7038" y="3676651"/>
              <a:ext cx="88900" cy="200025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1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8BF589E5-E835-4C22-BCD9-0A61D349012A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7513" y="3478213"/>
              <a:ext cx="42862" cy="85725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2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15228875-3CFE-41BC-A31B-4C53B99EBB31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1175" y="2417763"/>
              <a:ext cx="90487" cy="61913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3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0F3C8AD4-3590-41AF-8718-68397BB4575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3850" y="3217863"/>
              <a:ext cx="150812" cy="171450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4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9F1CD0B3-F5D8-41A6-AC6F-0FA83E42F01E}"/>
                </a:ext>
              </a:extLst>
            </p:cNvPr>
            <p:cNvSpPr>
              <a:spLocks/>
            </p:cNvSpPr>
            <p:nvPr/>
          </p:nvSpPr>
          <p:spPr bwMode="gray">
            <a:xfrm>
              <a:off x="4824413" y="2271713"/>
              <a:ext cx="228600" cy="149225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5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418F3434-BB1A-4F33-9986-9BC1B9A5FC29}"/>
                </a:ext>
              </a:extLst>
            </p:cNvPr>
            <p:cNvSpPr>
              <a:spLocks/>
            </p:cNvSpPr>
            <p:nvPr/>
          </p:nvSpPr>
          <p:spPr bwMode="gray">
            <a:xfrm>
              <a:off x="5629275" y="3219451"/>
              <a:ext cx="11112" cy="22225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6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93D36758-4CEB-42B2-A2F7-FB8D1833E9F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19725" y="2719388"/>
              <a:ext cx="146050" cy="117475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7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4D859529-89D9-4693-BC25-18EF3140DDA6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9450" y="2493963"/>
              <a:ext cx="184150" cy="8096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8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223AB4DE-E770-423E-9C87-950B43A0D1B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31075" y="4422776"/>
              <a:ext cx="1143000" cy="1071563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9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9746AB83-7A2C-4ADF-A762-ABC00E59120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80038" y="2736851"/>
              <a:ext cx="88900" cy="85725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0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E302206F-06F7-402D-8DC8-03B41ADE89B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90763" y="4787901"/>
              <a:ext cx="439737" cy="982663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1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AC6FD151-A1A5-4089-9E35-49A0DB12C0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6600" y="4216401"/>
              <a:ext cx="357187" cy="446088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2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624BA531-409A-42CE-ABD7-110C850639DF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6725" y="2697163"/>
              <a:ext cx="12700" cy="6350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3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77A73503-564A-4178-BC5C-6AC41637EBA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60813" y="2873376"/>
              <a:ext cx="595312" cy="587375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59D2F335-2786-41B1-9A3D-A829FDB9D7E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33925" y="2697163"/>
              <a:ext cx="58737" cy="98425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5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4C8D6D9A-B7F7-4AD1-8930-943E95CD45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78363" y="4797426"/>
              <a:ext cx="457200" cy="411163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6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F2AD1AFB-B9E5-4CF1-BE8B-0C0C78BB27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867400" y="2828926"/>
              <a:ext cx="365125" cy="296863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177" name="Group 340">
              <a:extLst>
                <a:ext uri="{FF2B5EF4-FFF2-40B4-BE49-F238E27FC236}">
                  <a16:creationId xmlns:a16="http://schemas.microsoft.com/office/drawing/2014/main" id="{2BDABABF-E4D9-4D3E-AE23-3780C38A540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724400" y="2584451"/>
              <a:ext cx="111125" cy="136525"/>
              <a:chOff x="2184" y="1242"/>
              <a:chExt cx="257" cy="316"/>
            </a:xfrm>
            <a:grpFill/>
          </p:grpSpPr>
          <p:sp>
            <p:nvSpPr>
              <p:cNvPr id="180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9542804-11B2-449F-977F-F4476275560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solidFill>
                <a:sysClr val="window" lastClr="FFFFFF">
                  <a:lumMod val="85000"/>
                </a:sysClr>
              </a:solidFill>
              <a:ln w="3175" cap="flat" cmpd="sng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81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E92E928-77E4-490F-9C2E-223A316CDB5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cs typeface="Calibri" pitchFamily="34" charset="0"/>
                </a:endParaRPr>
              </a:p>
            </p:txBody>
          </p:sp>
        </p:grpSp>
        <p:sp>
          <p:nvSpPr>
            <p:cNvPr id="178" name="Freeform 8">
              <a:extLst>
                <a:ext uri="{FF2B5EF4-FFF2-40B4-BE49-F238E27FC236}">
                  <a16:creationId xmlns:a16="http://schemas.microsoft.com/office/drawing/2014/main" id="{F78F10D7-537E-4072-9996-AEACCE57C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2266" y="3322737"/>
              <a:ext cx="485065" cy="47587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9" name="Freeform 9">
              <a:extLst>
                <a:ext uri="{FF2B5EF4-FFF2-40B4-BE49-F238E27FC236}">
                  <a16:creationId xmlns:a16="http://schemas.microsoft.com/office/drawing/2014/main" id="{011FB120-4CDE-4AA8-9594-F0FA0B0E4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9664" y="3677090"/>
              <a:ext cx="349247" cy="292061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182" name="Slide Number Placeholder 181">
            <a:extLst>
              <a:ext uri="{FF2B5EF4-FFF2-40B4-BE49-F238E27FC236}">
                <a16:creationId xmlns:a16="http://schemas.microsoft.com/office/drawing/2014/main" id="{C655882D-0796-4462-96D2-CE68DA52B3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4</a:t>
            </a:fld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DD89BD-E4D6-4028-AA5B-A97F265FC3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916" y="4895316"/>
            <a:ext cx="11029615" cy="1384887"/>
          </a:xfrm>
          <a:solidFill>
            <a:srgbClr val="FFC000">
              <a:alpha val="61176"/>
            </a:srgbClr>
          </a:solidFill>
        </p:spPr>
        <p:txBody>
          <a:bodyPr>
            <a:normAutofit fontScale="92500" lnSpcReduction="10000"/>
          </a:bodyPr>
          <a:lstStyle/>
          <a:p>
            <a:r>
              <a:rPr lang="en-GB" sz="1600" b="1" dirty="0">
                <a:solidFill>
                  <a:srgbClr val="0070C0"/>
                </a:solidFill>
              </a:rPr>
              <a:t>In 2020, over 2 billion people shopped online, with COVID creating a jump in e-Commerce sales</a:t>
            </a:r>
            <a:endParaRPr lang="en-NZ" sz="1600" b="1" dirty="0">
              <a:solidFill>
                <a:srgbClr val="0070C0"/>
              </a:solidFill>
            </a:endParaRPr>
          </a:p>
          <a:p>
            <a:r>
              <a:rPr lang="en-GB" sz="1600" b="1" dirty="0">
                <a:solidFill>
                  <a:srgbClr val="0070C0"/>
                </a:solidFill>
              </a:rPr>
              <a:t>E-commerce rose to 18% of the total retail sales in 2020</a:t>
            </a:r>
          </a:p>
          <a:p>
            <a:r>
              <a:rPr lang="en-GB" sz="1600" b="1" dirty="0">
                <a:solidFill>
                  <a:srgbClr val="0070C0"/>
                </a:solidFill>
              </a:rPr>
              <a:t>Cargo produced 36% of airlines' benefits in 2020</a:t>
            </a:r>
          </a:p>
          <a:p>
            <a:r>
              <a:rPr lang="en-GB" sz="1600" b="1" dirty="0">
                <a:solidFill>
                  <a:srgbClr val="0070C0"/>
                </a:solidFill>
              </a:rPr>
              <a:t>Airlines lead the transformation and movement of e-commerce volume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341FB8E6-9B20-4A3E-B9F4-702AE493FBBF}"/>
              </a:ext>
            </a:extLst>
          </p:cNvPr>
          <p:cNvSpPr txBox="1"/>
          <p:nvPr/>
        </p:nvSpPr>
        <p:spPr>
          <a:xfrm>
            <a:off x="2523508" y="6257371"/>
            <a:ext cx="493115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tx2"/>
                </a:solidFill>
              </a:rPr>
              <a:t>Source: </a:t>
            </a:r>
            <a:r>
              <a:rPr lang="en-US" sz="900" dirty="0">
                <a:solidFill>
                  <a:schemeClr val="tx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iata.org/en/publications/newsletters/tracker/cargo-tracker-february-2021/</a:t>
            </a:r>
            <a:r>
              <a:rPr lang="en-US" sz="900" dirty="0">
                <a:solidFill>
                  <a:schemeClr val="tx2"/>
                </a:solidFill>
              </a:rPr>
              <a:t> </a:t>
            </a:r>
            <a:endParaRPr lang="en-NZ" sz="900" dirty="0">
              <a:solidFill>
                <a:schemeClr val="tx2"/>
              </a:solidFill>
            </a:endParaRPr>
          </a:p>
        </p:txBody>
      </p:sp>
      <p:sp>
        <p:nvSpPr>
          <p:cNvPr id="185" name="Title 1">
            <a:extLst>
              <a:ext uri="{FF2B5EF4-FFF2-40B4-BE49-F238E27FC236}">
                <a16:creationId xmlns:a16="http://schemas.microsoft.com/office/drawing/2014/main" id="{D3ABA08F-8ECE-4B6E-B820-FB4DCEDDBFE1}"/>
              </a:ext>
            </a:extLst>
          </p:cNvPr>
          <p:cNvSpPr txBox="1">
            <a:spLocks noChangeArrowheads="1"/>
          </p:cNvSpPr>
          <p:nvPr/>
        </p:nvSpPr>
        <p:spPr>
          <a:xfrm>
            <a:off x="550653" y="1136274"/>
            <a:ext cx="11029950" cy="446088"/>
          </a:xfrm>
          <a:prstGeom prst="rect">
            <a:avLst/>
          </a:prstGeom>
          <a:ln/>
        </p:spPr>
        <p:txBody>
          <a:bodyPr vert="horz" lIns="91440" tIns="45720" rIns="91440" bIns="45720" rtlCol="0" anchor="b">
            <a:normAutofit lnSpcReduction="10000"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sz="2500">
                <a:latin typeface="Franklin Gothic Demi" panose="020B0703020102020204" pitchFamily="34" charset="0"/>
              </a:rPr>
              <a:t>Насколько готовы страны ЦАРЭС к увеличению грузопотока?</a:t>
            </a:r>
            <a:endParaRPr lang="ru-RU" altLang="ru-RU" sz="2500" dirty="0">
              <a:latin typeface="Franklin Gothic Demi" panose="020B0703020102020204" pitchFamily="34" charset="0"/>
            </a:endParaRPr>
          </a:p>
        </p:txBody>
      </p:sp>
      <p:sp>
        <p:nvSpPr>
          <p:cNvPr id="186" name="Content Placeholder 2">
            <a:extLst>
              <a:ext uri="{FF2B5EF4-FFF2-40B4-BE49-F238E27FC236}">
                <a16:creationId xmlns:a16="http://schemas.microsoft.com/office/drawing/2014/main" id="{27ECBD67-A3B1-4076-AC3A-6935410B47B5}"/>
              </a:ext>
            </a:extLst>
          </p:cNvPr>
          <p:cNvSpPr txBox="1">
            <a:spLocks noChangeArrowheads="1"/>
          </p:cNvSpPr>
          <p:nvPr/>
        </p:nvSpPr>
        <p:spPr>
          <a:xfrm>
            <a:off x="8525868" y="2434354"/>
            <a:ext cx="3394750" cy="2317251"/>
          </a:xfrm>
          <a:prstGeom prst="rect">
            <a:avLst/>
          </a:prstGeom>
          <a:solidFill>
            <a:srgbClr val="FFC000">
              <a:alpha val="61176"/>
            </a:srgbClr>
          </a:solidFill>
          <a:ln/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marL="306000" indent="-306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3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ru-RU" sz="1600" b="1" dirty="0">
                <a:latin typeface="Franklin Gothic Book" panose="020B0503020102020204" pitchFamily="34" charset="0"/>
              </a:rPr>
              <a:t>В 2020 году более 2 миллиардов людей делали покупки онлайн. КОВИД привел к всплеску электронной торговли</a:t>
            </a:r>
          </a:p>
          <a:p>
            <a:r>
              <a:rPr lang="ru-RU" altLang="ru-RU" sz="1600" b="1" dirty="0">
                <a:latin typeface="Franklin Gothic Book" panose="020B0503020102020204" pitchFamily="34" charset="0"/>
              </a:rPr>
              <a:t>Электронная торговля выросла до 18% от совокупного объема продаж в 2020 г.</a:t>
            </a:r>
          </a:p>
          <a:p>
            <a:r>
              <a:rPr lang="ru-RU" altLang="ru-RU" sz="1600" b="1" dirty="0">
                <a:latin typeface="Franklin Gothic Book" panose="020B0503020102020204" pitchFamily="34" charset="0"/>
              </a:rPr>
              <a:t>В 2020 году на грузы пришлось 36% выгоды авиакомпаний</a:t>
            </a:r>
          </a:p>
          <a:p>
            <a:r>
              <a:rPr lang="ru-RU" altLang="ru-RU" sz="1600" b="1" dirty="0">
                <a:latin typeface="Franklin Gothic Book" panose="020B0503020102020204" pitchFamily="34" charset="0"/>
              </a:rPr>
              <a:t>Авиакомпании ведут за собой трансформацию и перемещение объемов электронной торговли</a:t>
            </a:r>
          </a:p>
        </p:txBody>
      </p:sp>
    </p:spTree>
    <p:extLst>
      <p:ext uri="{BB962C8B-B14F-4D97-AF65-F5344CB8AC3E}">
        <p14:creationId xmlns:p14="http://schemas.microsoft.com/office/powerpoint/2010/main" val="37547093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1970138-2349-4216-A84A-352FBBF25C8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3285" y="1400784"/>
            <a:ext cx="9735150" cy="457456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9F4BE08-493D-44F5-9461-2DA2CDEF89F9}"/>
              </a:ext>
            </a:extLst>
          </p:cNvPr>
          <p:cNvSpPr txBox="1"/>
          <p:nvPr/>
        </p:nvSpPr>
        <p:spPr>
          <a:xfrm>
            <a:off x="1809345" y="6507701"/>
            <a:ext cx="363913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tx2"/>
                </a:solidFill>
              </a:rPr>
              <a:t>Source: </a:t>
            </a:r>
            <a:r>
              <a:rPr lang="en-US" sz="900" dirty="0">
                <a:solidFill>
                  <a:schemeClr val="tx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oeing.com/commercial/market/cargo-forecast/</a:t>
            </a:r>
            <a:r>
              <a:rPr lang="en-US" sz="900" dirty="0">
                <a:solidFill>
                  <a:schemeClr val="tx2"/>
                </a:solidFill>
              </a:rPr>
              <a:t> </a:t>
            </a:r>
            <a:endParaRPr lang="en-NZ" sz="900" dirty="0">
              <a:solidFill>
                <a:schemeClr val="tx2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5E75FF4-D841-4963-A320-BC069B9B5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647" y="702156"/>
            <a:ext cx="11929353" cy="358159"/>
          </a:xfrm>
        </p:spPr>
        <p:txBody>
          <a:bodyPr>
            <a:noAutofit/>
          </a:bodyPr>
          <a:lstStyle/>
          <a:p>
            <a:r>
              <a:rPr lang="en-US" sz="2600" dirty="0">
                <a:solidFill>
                  <a:srgbClr val="0070C0"/>
                </a:solidFill>
              </a:rPr>
              <a:t>Drop in passenger belly capacity has boosted freighter demand</a:t>
            </a:r>
            <a:endParaRPr lang="en-NZ" sz="2600" dirty="0">
              <a:solidFill>
                <a:srgbClr val="0070C0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920D067-F694-465A-8F5A-8AC8D27C12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52E9-9879-41B1-B3D0-77AFD6060852}" type="slidenum">
              <a:rPr lang="en-NZ" smtClean="0"/>
              <a:t>5</a:t>
            </a:fld>
            <a:endParaRPr lang="en-NZ"/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B9A47B67-46E7-4949-86F6-285E6DA610DC}"/>
              </a:ext>
            </a:extLst>
          </p:cNvPr>
          <p:cNvSpPr txBox="1">
            <a:spLocks noChangeArrowheads="1"/>
          </p:cNvSpPr>
          <p:nvPr/>
        </p:nvSpPr>
        <p:spPr>
          <a:xfrm>
            <a:off x="261938" y="173146"/>
            <a:ext cx="11930062" cy="358775"/>
          </a:xfrm>
          <a:prstGeom prst="rect">
            <a:avLst/>
          </a:prstGeom>
          <a:ln/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sz="1700" dirty="0">
                <a:latin typeface="Franklin Gothic Demi" panose="020B0703020102020204" pitchFamily="34" charset="0"/>
              </a:rPr>
              <a:t>Снижение объемов грузоперевозок пассажирскими самолетами увеличило спрос на грузовые воздушные суда</a:t>
            </a: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0CEBCC89-EE7A-4056-9DB5-0860D769E470}"/>
              </a:ext>
            </a:extLst>
          </p:cNvPr>
          <p:cNvSpPr txBox="1">
            <a:spLocks noChangeArrowheads="1"/>
          </p:cNvSpPr>
          <p:nvPr/>
        </p:nvSpPr>
        <p:spPr>
          <a:xfrm>
            <a:off x="6600897" y="1936229"/>
            <a:ext cx="3957403" cy="358159"/>
          </a:xfrm>
          <a:prstGeom prst="rect">
            <a:avLst/>
          </a:prstGeom>
          <a:ln/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sz="1600" dirty="0">
                <a:latin typeface="Franklin Gothic Demi" panose="020B0703020102020204" pitchFamily="34" charset="0"/>
              </a:rPr>
              <a:t>Выделенные грузовые самолеты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142B9D17-3336-4A65-AD47-A75998E9C747}"/>
              </a:ext>
            </a:extLst>
          </p:cNvPr>
          <p:cNvSpPr txBox="1">
            <a:spLocks noChangeArrowheads="1"/>
          </p:cNvSpPr>
          <p:nvPr/>
        </p:nvSpPr>
        <p:spPr>
          <a:xfrm>
            <a:off x="5614044" y="3250739"/>
            <a:ext cx="3957403" cy="358159"/>
          </a:xfrm>
          <a:prstGeom prst="rect">
            <a:avLst/>
          </a:prstGeom>
          <a:ln/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sz="1600" dirty="0">
                <a:latin typeface="Franklin Gothic Demi" panose="020B0703020102020204" pitchFamily="34" charset="0"/>
              </a:rPr>
              <a:t>Совокупная мощность</a:t>
            </a: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E5C7612A-AA73-4E86-BF7C-4119DC0E0438}"/>
              </a:ext>
            </a:extLst>
          </p:cNvPr>
          <p:cNvSpPr txBox="1">
            <a:spLocks noChangeArrowheads="1"/>
          </p:cNvSpPr>
          <p:nvPr/>
        </p:nvSpPr>
        <p:spPr>
          <a:xfrm>
            <a:off x="6600896" y="4931666"/>
            <a:ext cx="3957403" cy="939836"/>
          </a:xfrm>
          <a:prstGeom prst="rect">
            <a:avLst/>
          </a:prstGeom>
          <a:ln/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sz="1600" dirty="0">
                <a:latin typeface="Franklin Gothic Demi" panose="020B0703020102020204" pitchFamily="34" charset="0"/>
              </a:rPr>
              <a:t>Грузовые отсеки широкофюзеляжных</a:t>
            </a:r>
          </a:p>
          <a:p>
            <a:r>
              <a:rPr lang="ru-RU" altLang="ru-RU" sz="1600" dirty="0">
                <a:latin typeface="Franklin Gothic Demi" panose="020B0703020102020204" pitchFamily="34" charset="0"/>
              </a:rPr>
              <a:t>Пассажирских самолетов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BD5D036-16F2-4A56-A016-2F9D7BEDE14F}"/>
              </a:ext>
            </a:extLst>
          </p:cNvPr>
          <p:cNvSpPr/>
          <p:nvPr/>
        </p:nvSpPr>
        <p:spPr>
          <a:xfrm>
            <a:off x="3839029" y="1257998"/>
            <a:ext cx="5090161" cy="2000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200" dirty="0">
                <a:solidFill>
                  <a:schemeClr val="tx1"/>
                </a:solidFill>
              </a:rPr>
              <a:t>Еженедельные мощности грузоперевозок 2020, по типам самолетов</a:t>
            </a:r>
          </a:p>
        </p:txBody>
      </p:sp>
    </p:spTree>
    <p:extLst>
      <p:ext uri="{BB962C8B-B14F-4D97-AF65-F5344CB8AC3E}">
        <p14:creationId xmlns:p14="http://schemas.microsoft.com/office/powerpoint/2010/main" val="30313773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10">
            <a:extLst>
              <a:ext uri="{FF2B5EF4-FFF2-40B4-BE49-F238E27FC236}">
                <a16:creationId xmlns:a16="http://schemas.microsoft.com/office/drawing/2014/main" id="{E9751CB9-7B25-4EB8-9A6F-82F822549F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E1317383-CF3B-4B02-9512-BECBEF6362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B1D4C7A0-6DF2-4F2D-A45D-F111582974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4" name="Rectangle 16">
            <a:extLst>
              <a:ext uri="{FF2B5EF4-FFF2-40B4-BE49-F238E27FC236}">
                <a16:creationId xmlns:a16="http://schemas.microsoft.com/office/drawing/2014/main" id="{DBF3943D-BCB6-4B31-809D-A005686483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5" name="Rectangle 18">
            <a:extLst>
              <a:ext uri="{FF2B5EF4-FFF2-40B4-BE49-F238E27FC236}">
                <a16:creationId xmlns:a16="http://schemas.microsoft.com/office/drawing/2014/main" id="{39373A6F-2E1F-4613-8E1D-D68057D29F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2377" y="601200"/>
            <a:ext cx="3707477" cy="5624979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29594B83-380F-4FD2-B5D8-CF29B042F2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340" y="13744"/>
            <a:ext cx="3409783" cy="1300365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accent1"/>
                </a:solidFill>
              </a:rPr>
              <a:t>Freighter volume up Year-on-year in 2020</a:t>
            </a:r>
            <a:endParaRPr lang="en-NZ" sz="1800" dirty="0">
              <a:solidFill>
                <a:schemeClr val="accent1"/>
              </a:solidFill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9F94EB7A-B299-4E9B-94B0-23328B82E0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377" y="1283031"/>
            <a:ext cx="3409782" cy="1960143"/>
          </a:xfrm>
        </p:spPr>
        <p:txBody>
          <a:bodyPr>
            <a:norm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 Challenge with lack of capacity limiting faster air cargo recovery</a:t>
            </a:r>
          </a:p>
          <a:p>
            <a:r>
              <a:rPr lang="en-GB" sz="1400" dirty="0">
                <a:solidFill>
                  <a:schemeClr val="accent1"/>
                </a:solidFill>
              </a:rPr>
              <a:t>Pandemic is limiting ease of operation of passenger flights</a:t>
            </a:r>
          </a:p>
          <a:p>
            <a:r>
              <a:rPr lang="en-GB" sz="1400" dirty="0">
                <a:solidFill>
                  <a:schemeClr val="accent1"/>
                </a:solidFill>
              </a:rPr>
              <a:t>Demand for freighter transportation is likely to remain high until full recovery of passenger flights</a:t>
            </a:r>
            <a:endParaRPr lang="en-NZ" sz="1400" dirty="0">
              <a:solidFill>
                <a:schemeClr val="accent1"/>
              </a:solidFill>
            </a:endParaRPr>
          </a:p>
        </p:txBody>
      </p:sp>
      <p:pic>
        <p:nvPicPr>
          <p:cNvPr id="6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A9F64338-0D24-4E4A-B07A-13A462CCE7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2231" y="1020728"/>
            <a:ext cx="6831503" cy="479913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DF5A0B-F914-46D3-A386-C78F5FC85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6400800"/>
            <a:ext cx="1052508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3A98EE3D-8CD1-4C3F-BD1C-C98C9596463C}" type="slidenum">
              <a:rPr lang="en-US">
                <a:solidFill>
                  <a:srgbClr val="FCC272"/>
                </a:solidFill>
              </a:rPr>
              <a:pPr>
                <a:spcAft>
                  <a:spcPts val="600"/>
                </a:spcAft>
              </a:pPr>
              <a:t>6</a:t>
            </a:fld>
            <a:endParaRPr lang="en-US">
              <a:solidFill>
                <a:srgbClr val="FCC27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EBCAC3-2114-4579-B349-DE22D8442573}"/>
              </a:ext>
            </a:extLst>
          </p:cNvPr>
          <p:cNvSpPr txBox="1"/>
          <p:nvPr/>
        </p:nvSpPr>
        <p:spPr>
          <a:xfrm>
            <a:off x="4504266" y="6000749"/>
            <a:ext cx="50292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bg1"/>
                </a:solidFill>
              </a:rPr>
              <a:t>Source: </a:t>
            </a:r>
            <a:r>
              <a:rPr lang="en-US" sz="6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iata.org/en/iata-repository/publications/economic-reports/air-freight-monthly-analysis---october-2020/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endParaRPr lang="en-NZ" sz="6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48A9AA-D8CA-478D-AFC8-FAC775556354}"/>
              </a:ext>
            </a:extLst>
          </p:cNvPr>
          <p:cNvSpPr txBox="1"/>
          <p:nvPr/>
        </p:nvSpPr>
        <p:spPr>
          <a:xfrm>
            <a:off x="4504266" y="6394447"/>
            <a:ext cx="71220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*ACTK = available cargo </a:t>
            </a:r>
            <a:r>
              <a:rPr lang="en-US" sz="1400" dirty="0" err="1">
                <a:solidFill>
                  <a:schemeClr val="bg2"/>
                </a:solidFill>
              </a:rPr>
              <a:t>tonne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kilometres</a:t>
            </a:r>
            <a:r>
              <a:rPr lang="en-US" sz="1400" dirty="0">
                <a:solidFill>
                  <a:schemeClr val="bg2"/>
                </a:solidFill>
              </a:rPr>
              <a:t> | </a:t>
            </a:r>
            <a:r>
              <a:rPr lang="en-US" sz="1400" b="1" dirty="0">
                <a:solidFill>
                  <a:schemeClr val="bg1"/>
                </a:solidFill>
              </a:rPr>
              <a:t>*</a:t>
            </a:r>
            <a:r>
              <a:rPr lang="ru-RU" sz="1400" b="1" dirty="0">
                <a:solidFill>
                  <a:schemeClr val="bg1"/>
                </a:solidFill>
              </a:rPr>
              <a:t>АСКТ = доступные тонно-километры грузов</a:t>
            </a:r>
            <a:endParaRPr lang="en-NZ" sz="1400" b="1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2463CE-5B8E-4D6F-B258-D72E93AD29CF}"/>
              </a:ext>
            </a:extLst>
          </p:cNvPr>
          <p:cNvSpPr txBox="1"/>
          <p:nvPr/>
        </p:nvSpPr>
        <p:spPr>
          <a:xfrm>
            <a:off x="5958446" y="821174"/>
            <a:ext cx="319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*</a:t>
            </a:r>
            <a:endParaRPr lang="en-NZ" dirty="0">
              <a:solidFill>
                <a:schemeClr val="bg2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F772F3B-DCE1-4259-9B68-DD6F617E7891}"/>
              </a:ext>
            </a:extLst>
          </p:cNvPr>
          <p:cNvSpPr txBox="1">
            <a:spLocks noChangeArrowheads="1"/>
          </p:cNvSpPr>
          <p:nvPr/>
        </p:nvSpPr>
        <p:spPr>
          <a:xfrm>
            <a:off x="499173" y="3327383"/>
            <a:ext cx="3409950" cy="894984"/>
          </a:xfrm>
          <a:prstGeom prst="rect">
            <a:avLst/>
          </a:prstGeom>
          <a:ln/>
        </p:spPr>
        <p:txBody>
          <a:bodyPr vert="horz" lIns="91440" tIns="45720" rIns="91440" bIns="45720" rtlCol="0" anchor="b">
            <a:normAutofit lnSpcReduction="10000"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sz="1800" dirty="0">
                <a:solidFill>
                  <a:srgbClr val="FFFFFF"/>
                </a:solidFill>
                <a:latin typeface="Franklin Gothic Demi" panose="020B0703020102020204" pitchFamily="34" charset="0"/>
              </a:rPr>
              <a:t>Рост объем перевозок грузовыми бортами в 2020 году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17398DA-1DCA-4006-8A70-DB3B01220F94}"/>
              </a:ext>
            </a:extLst>
          </p:cNvPr>
          <p:cNvSpPr txBox="1">
            <a:spLocks noChangeArrowheads="1"/>
          </p:cNvSpPr>
          <p:nvPr/>
        </p:nvSpPr>
        <p:spPr>
          <a:xfrm>
            <a:off x="499173" y="4336917"/>
            <a:ext cx="3409950" cy="1831570"/>
          </a:xfrm>
          <a:prstGeom prst="rect">
            <a:avLst/>
          </a:prstGeom>
          <a:ln/>
        </p:spPr>
        <p:txBody>
          <a:bodyPr vert="horz" lIns="91440" tIns="45720" rIns="91440" bIns="45720" rtlCol="0" anchor="ctr">
            <a:normAutofit lnSpcReduction="10000"/>
          </a:bodyPr>
          <a:lstStyle>
            <a:lvl1pPr marL="306000" indent="-306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3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ru-RU" sz="12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 Трудности с нехваткой мощностей ограничивает более быстрое восстановление воздушных грузоперевозок</a:t>
            </a:r>
          </a:p>
          <a:p>
            <a:r>
              <a:rPr lang="ru-RU" altLang="ru-RU" sz="12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Пандемия ограничивает легкость операций пассажирских рейсов</a:t>
            </a:r>
          </a:p>
          <a:p>
            <a:r>
              <a:rPr lang="ru-RU" altLang="ru-RU" sz="12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Вероятно, до полного восстановления пассажирских рейсов спрос на грузовые самолеты останется высоким</a:t>
            </a:r>
            <a:endParaRPr lang="en-NZ" altLang="en-US" sz="1200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FA08F84-DC2C-47A9-B17B-76128297FC1D}"/>
              </a:ext>
            </a:extLst>
          </p:cNvPr>
          <p:cNvSpPr/>
          <p:nvPr/>
        </p:nvSpPr>
        <p:spPr>
          <a:xfrm>
            <a:off x="6428782" y="1283031"/>
            <a:ext cx="5654361" cy="20986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400" b="1" dirty="0">
                <a:solidFill>
                  <a:schemeClr val="bg1"/>
                </a:solidFill>
              </a:rPr>
              <a:t>Грузовые самолеты              ссажирские самолеты         Итого</a:t>
            </a:r>
          </a:p>
        </p:txBody>
      </p:sp>
    </p:spTree>
    <p:extLst>
      <p:ext uri="{BB962C8B-B14F-4D97-AF65-F5344CB8AC3E}">
        <p14:creationId xmlns:p14="http://schemas.microsoft.com/office/powerpoint/2010/main" val="3495642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>
            <a:extLst>
              <a:ext uri="{FF2B5EF4-FFF2-40B4-BE49-F238E27FC236}">
                <a16:creationId xmlns:a16="http://schemas.microsoft.com/office/drawing/2014/main" id="{7B34D440-E359-4CB9-B8E8-81977A8603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21957" cy="6858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35" descr="A large airplane taking off&#10;&#10;Description automatically generated with low confidence">
            <a:extLst>
              <a:ext uri="{FF2B5EF4-FFF2-40B4-BE49-F238E27FC236}">
                <a16:creationId xmlns:a16="http://schemas.microsoft.com/office/drawing/2014/main" id="{B23FDF48-34C4-424C-A6B4-DD24961BF5B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>
          <a:xfrm>
            <a:off x="886052" y="457281"/>
            <a:ext cx="2848403" cy="281085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AE793C7A-58D1-4D18-AE9C-90AA7773720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587" y="4146721"/>
            <a:ext cx="3217333" cy="1697143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D288FC14-B788-4FBC-9C5E-BC4892F579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20506" y="0"/>
            <a:ext cx="7571045" cy="6858000"/>
          </a:xfrm>
          <a:prstGeom prst="rect">
            <a:avLst/>
          </a:prstGeom>
          <a:solidFill>
            <a:srgbClr val="465359"/>
          </a:solidFill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06852C-ACC3-4CD9-9E7B-18D73CA1A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4777" y="93991"/>
            <a:ext cx="6400367" cy="916203"/>
          </a:xfrm>
        </p:spPr>
        <p:txBody>
          <a:bodyPr anchor="ctr">
            <a:normAutofit fontScale="90000"/>
          </a:bodyPr>
          <a:lstStyle/>
          <a:p>
            <a:r>
              <a:rPr lang="en-US" dirty="0">
                <a:solidFill>
                  <a:schemeClr val="accent1"/>
                </a:solidFill>
              </a:rPr>
              <a:t>Freighters will continue to drive world air cargo</a:t>
            </a:r>
            <a:endParaRPr lang="en-NZ" dirty="0">
              <a:solidFill>
                <a:schemeClr val="accent1"/>
              </a:solidFill>
            </a:endParaRP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001877EB-2AC2-42F9-957E-2F44283622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33900" y="1010194"/>
            <a:ext cx="7139912" cy="2225761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accent1"/>
                </a:solidFill>
              </a:rPr>
              <a:t>Cargo trade routes not typically served by passenger belly-hold capacity for tonnage &amp; seasonality required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accent1"/>
                </a:solidFill>
              </a:rPr>
              <a:t>Hazardous goods or temperature-controlled perishables products require freighter aircraft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accent1"/>
                </a:solidFill>
              </a:rPr>
              <a:t>Payload restrictions and limited volume available on passenger flights requires freighter solution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accent1"/>
                </a:solidFill>
              </a:rPr>
              <a:t>Passenger schedules are often incompatible with air cargo needs for time-sensitive shipments</a:t>
            </a:r>
            <a:endParaRPr lang="en-NZ" sz="1400" dirty="0">
              <a:solidFill>
                <a:schemeClr val="accent1"/>
              </a:solidFill>
            </a:endParaRP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E90FEDE9-2722-456B-8D53-FE510D1A96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0262" y="6256202"/>
            <a:ext cx="544874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3A98EE3D-8CD1-4C3F-BD1C-C98C9596463C}" type="slidenum">
              <a:rPr lang="en-US">
                <a:solidFill>
                  <a:srgbClr val="57E5FF"/>
                </a:solidFill>
              </a:rPr>
              <a:pPr>
                <a:spcAft>
                  <a:spcPts val="600"/>
                </a:spcAft>
              </a:pPr>
              <a:t>7</a:t>
            </a:fld>
            <a:endParaRPr lang="en-US">
              <a:solidFill>
                <a:srgbClr val="57E5FF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4667A7A-88A4-4499-86BB-A38843D3DD2C}"/>
              </a:ext>
            </a:extLst>
          </p:cNvPr>
          <p:cNvSpPr txBox="1"/>
          <p:nvPr/>
        </p:nvSpPr>
        <p:spPr>
          <a:xfrm>
            <a:off x="891087" y="2975733"/>
            <a:ext cx="2848403" cy="28108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600" dirty="0">
                <a:solidFill>
                  <a:schemeClr val="tx2">
                    <a:lumMod val="75000"/>
                  </a:schemeClr>
                </a:solidFill>
              </a:rPr>
              <a:t>Picture source: </a:t>
            </a:r>
            <a:r>
              <a:rPr lang="en-GB" sz="600" dirty="0">
                <a:solidFill>
                  <a:schemeClr val="tx2">
                    <a:lumMod val="75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ilk Way West Airlines stands ready for a leading role in the global distribution of medical supplies - Cargo Newswire - International Cargo Wire News</a:t>
            </a:r>
            <a:endParaRPr lang="en-NZ" sz="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EAE5274-A391-47CE-AFB8-54BA56514365}"/>
              </a:ext>
            </a:extLst>
          </p:cNvPr>
          <p:cNvSpPr txBox="1"/>
          <p:nvPr/>
        </p:nvSpPr>
        <p:spPr>
          <a:xfrm>
            <a:off x="642442" y="5794537"/>
            <a:ext cx="35890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tx2">
                    <a:lumMod val="75000"/>
                  </a:schemeClr>
                </a:solidFill>
              </a:rPr>
              <a:t>Picture source: https://www.aircargonews.net/freighters-world/turkmenistan-to-take-first-airbus-jets-through-a330-freighter-conversion/ </a:t>
            </a:r>
            <a:endParaRPr lang="en-NZ" sz="7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47" name="Picture 4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250810B6-7B84-4A1C-8893-303FF621E4D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266" y="6423914"/>
            <a:ext cx="1114150" cy="297394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BBBFE5E8-8111-47ED-8136-19605ADA4697}"/>
              </a:ext>
            </a:extLst>
          </p:cNvPr>
          <p:cNvSpPr txBox="1">
            <a:spLocks noChangeArrowheads="1"/>
          </p:cNvSpPr>
          <p:nvPr/>
        </p:nvSpPr>
        <p:spPr>
          <a:xfrm>
            <a:off x="5089613" y="3082447"/>
            <a:ext cx="6400800" cy="1309687"/>
          </a:xfrm>
          <a:prstGeom prst="rect">
            <a:avLst/>
          </a:prstGeom>
          <a:ln/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dirty="0">
                <a:solidFill>
                  <a:srgbClr val="FFFFFF"/>
                </a:solidFill>
                <a:latin typeface="Franklin Gothic Demi" panose="020B0703020102020204" pitchFamily="34" charset="0"/>
              </a:rPr>
              <a:t>Грузовые самолеты продолжат доминировать в мировых воздушных грузоперевозках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80B499C5-367B-4701-8F4A-BFE0AFA2F62A}"/>
              </a:ext>
            </a:extLst>
          </p:cNvPr>
          <p:cNvSpPr txBox="1">
            <a:spLocks noChangeArrowheads="1"/>
          </p:cNvSpPr>
          <p:nvPr/>
        </p:nvSpPr>
        <p:spPr>
          <a:xfrm>
            <a:off x="4873974" y="3788988"/>
            <a:ext cx="6902450" cy="3470275"/>
          </a:xfrm>
          <a:prstGeom prst="rect">
            <a:avLst/>
          </a:prstGeom>
          <a:ln/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3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ru-RU" altLang="ru-RU" sz="16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Грузовые маршруты, обычно не обслуживаемые пассажирскими самолетами, в отношении необходимого тоннажа и сезонности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ru-RU" altLang="ru-RU" sz="16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Опасные грузы или скоропортящиеся грузы с температурным режимом требуют грузовых самолетов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ru-RU" altLang="ru-RU" sz="16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Ограничения по полезной загрузке и ограниченные объемы на пассажирских рейсах обусловливают необходимость грузовых самолетов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</a:pPr>
            <a:r>
              <a:rPr lang="ru-RU" altLang="ru-RU" sz="16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Графики пассажирских рейсов часто не сопоставимы с требованиями воздушных грузоперевозок ограниченных во времени </a:t>
            </a:r>
            <a:r>
              <a:rPr lang="ru-RU" altLang="ru-RU" sz="1600" dirty="0" err="1">
                <a:solidFill>
                  <a:srgbClr val="FFFFFF"/>
                </a:solidFill>
                <a:latin typeface="Franklin Gothic Book" panose="020B0503020102020204" pitchFamily="34" charset="0"/>
              </a:rPr>
              <a:t>грузоотправлений</a:t>
            </a:r>
            <a:endParaRPr lang="ru-RU" altLang="ru-RU" sz="1600" dirty="0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1628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2">
            <a:extLst>
              <a:ext uri="{FF2B5EF4-FFF2-40B4-BE49-F238E27FC236}">
                <a16:creationId xmlns:a16="http://schemas.microsoft.com/office/drawing/2014/main" id="{1BB56EB9-078F-4952-AC1F-149C7A0AE4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4">
            <a:extLst>
              <a:ext uri="{FF2B5EF4-FFF2-40B4-BE49-F238E27FC236}">
                <a16:creationId xmlns:a16="http://schemas.microsoft.com/office/drawing/2014/main" id="{D3772EE4-ED5E-4D3A-A306-B22CF86678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601200"/>
            <a:ext cx="3703320" cy="5789365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76D04A-B959-4DD8-BFAE-B5114993C4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7622" y="607987"/>
            <a:ext cx="3259016" cy="613993"/>
          </a:xfr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800" dirty="0">
                <a:solidFill>
                  <a:schemeClr val="accent1"/>
                </a:solidFill>
              </a:rPr>
              <a:t>Air cargo prices have risen with covid pandemic</a:t>
            </a:r>
          </a:p>
        </p:txBody>
      </p:sp>
      <p:sp>
        <p:nvSpPr>
          <p:cNvPr id="14" name="Rectangle 16">
            <a:extLst>
              <a:ext uri="{FF2B5EF4-FFF2-40B4-BE49-F238E27FC236}">
                <a16:creationId xmlns:a16="http://schemas.microsoft.com/office/drawing/2014/main" id="{10058680-D07C-4893-B2B7-91543F18AB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6" name="Rectangle 18">
            <a:extLst>
              <a:ext uri="{FF2B5EF4-FFF2-40B4-BE49-F238E27FC236}">
                <a16:creationId xmlns:a16="http://schemas.microsoft.com/office/drawing/2014/main" id="{7B42427A-0A1F-4A55-8705-D9179F1E0C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8" name="Rectangle 20">
            <a:extLst>
              <a:ext uri="{FF2B5EF4-FFF2-40B4-BE49-F238E27FC236}">
                <a16:creationId xmlns:a16="http://schemas.microsoft.com/office/drawing/2014/main" id="{EE54A6FE-D8CB-48A3-900B-053D4EBD3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0E06D3B-7892-430A-ABE8-D25F72ED8D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1513" y="1181775"/>
            <a:ext cx="3347050" cy="1909542"/>
          </a:xfrm>
        </p:spPr>
        <p:txBody>
          <a:bodyPr anchor="t">
            <a:normAutofit/>
          </a:bodyPr>
          <a:lstStyle/>
          <a:p>
            <a:pPr>
              <a:spcAft>
                <a:spcPts val="0"/>
              </a:spcAft>
            </a:pPr>
            <a:r>
              <a:rPr lang="en-US" sz="1200" dirty="0">
                <a:solidFill>
                  <a:schemeClr val="accent1"/>
                </a:solidFill>
              </a:rPr>
              <a:t>Air cargo capacity has reduced due to withdrawal of passenger belly space</a:t>
            </a:r>
          </a:p>
          <a:p>
            <a:pPr>
              <a:spcAft>
                <a:spcPts val="0"/>
              </a:spcAft>
            </a:pPr>
            <a:r>
              <a:rPr lang="en-GB" sz="1200" dirty="0">
                <a:solidFill>
                  <a:schemeClr val="accent1"/>
                </a:solidFill>
              </a:rPr>
              <a:t>Yields have increased with constrained air cargo supply</a:t>
            </a:r>
          </a:p>
          <a:p>
            <a:pPr>
              <a:spcAft>
                <a:spcPts val="0"/>
              </a:spcAft>
            </a:pPr>
            <a:r>
              <a:rPr lang="en-GB" sz="1200" dirty="0">
                <a:solidFill>
                  <a:schemeClr val="accent1"/>
                </a:solidFill>
              </a:rPr>
              <a:t>Online trade is a growth driver for the air cargo industry.</a:t>
            </a:r>
          </a:p>
          <a:p>
            <a:pPr>
              <a:spcAft>
                <a:spcPts val="0"/>
              </a:spcAft>
            </a:pPr>
            <a:r>
              <a:rPr lang="en-GB" sz="1200" dirty="0">
                <a:solidFill>
                  <a:schemeClr val="accent1"/>
                </a:solidFill>
              </a:rPr>
              <a:t>According to IATA, airfreight is needed to rapidly refill inventories</a:t>
            </a:r>
            <a:endParaRPr lang="en-NZ" sz="1200" dirty="0">
              <a:solidFill>
                <a:schemeClr val="accent1"/>
              </a:solidFill>
            </a:endParaRPr>
          </a:p>
        </p:txBody>
      </p:sp>
      <p:pic>
        <p:nvPicPr>
          <p:cNvPr id="6" name="Content Placeholder 5" descr="Chart, line chart&#10;&#10;Description automatically generated">
            <a:extLst>
              <a:ext uri="{FF2B5EF4-FFF2-40B4-BE49-F238E27FC236}">
                <a16:creationId xmlns:a16="http://schemas.microsoft.com/office/drawing/2014/main" id="{D0A17064-B13A-4488-8C36-F0BC092624C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4241830" y="601200"/>
            <a:ext cx="7503636" cy="578936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71455B-D925-4FEA-A600-E381F4BA5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6423914"/>
            <a:ext cx="1052510" cy="365125"/>
          </a:xfrm>
        </p:spPr>
        <p:txBody>
          <a:bodyPr vert="horz" lIns="91440" tIns="45720" rIns="91440" bIns="45720" rtlCol="0">
            <a:normAutofit/>
          </a:bodyPr>
          <a:lstStyle/>
          <a:p>
            <a:pPr defTabSz="457200">
              <a:spcAft>
                <a:spcPts val="600"/>
              </a:spcAft>
            </a:pPr>
            <a:fld id="{3A98EE3D-8CD1-4C3F-BD1C-C98C9596463C}" type="slidenum">
              <a:rPr lang="en-US">
                <a:solidFill>
                  <a:schemeClr val="bg1">
                    <a:lumMod val="75000"/>
                    <a:lumOff val="25000"/>
                  </a:schemeClr>
                </a:solidFill>
              </a:rPr>
              <a:pPr defTabSz="457200">
                <a:spcAft>
                  <a:spcPts val="600"/>
                </a:spcAft>
              </a:pPr>
              <a:t>8</a:t>
            </a:fld>
            <a:endParaRPr lang="en-US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8C5463-1545-4EF9-97DE-D882E92D4060}"/>
              </a:ext>
            </a:extLst>
          </p:cNvPr>
          <p:cNvSpPr txBox="1"/>
          <p:nvPr/>
        </p:nvSpPr>
        <p:spPr>
          <a:xfrm>
            <a:off x="6141865" y="6253915"/>
            <a:ext cx="582686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Source: </a:t>
            </a:r>
            <a:r>
              <a:rPr lang="en-GB" sz="700" dirty="0" err="1">
                <a:solidFill>
                  <a:schemeClr val="bg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rewry</a:t>
            </a:r>
            <a:r>
              <a:rPr lang="en-GB" sz="700" dirty="0">
                <a:solidFill>
                  <a:schemeClr val="bg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- Logistics Executive Briefing - Air freight rates will not normalise despite recent retreat</a:t>
            </a:r>
            <a:r>
              <a:rPr lang="en-GB" sz="700" dirty="0">
                <a:solidFill>
                  <a:schemeClr val="bg2"/>
                </a:solidFill>
              </a:rPr>
              <a:t>, </a:t>
            </a:r>
            <a:r>
              <a:rPr lang="en-GB" sz="800" b="0" i="0" dirty="0">
                <a:solidFill>
                  <a:schemeClr val="bg2"/>
                </a:solidFill>
                <a:effectLst/>
                <a:latin typeface="AktivGrotesk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iata.org/en/programs/cargo/cargo-operations/e-commerce-logistics/</a:t>
            </a:r>
            <a:r>
              <a:rPr lang="en-GB" sz="800" b="0" i="0" dirty="0">
                <a:solidFill>
                  <a:schemeClr val="bg2"/>
                </a:solidFill>
                <a:effectLst/>
                <a:latin typeface="AktivGrotesk"/>
              </a:rPr>
              <a:t> </a:t>
            </a:r>
            <a:endParaRPr lang="en-NZ" sz="700" dirty="0">
              <a:solidFill>
                <a:schemeClr val="bg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479348F-B438-47B7-ABBC-CE30AD45BA30}"/>
              </a:ext>
            </a:extLst>
          </p:cNvPr>
          <p:cNvSpPr txBox="1"/>
          <p:nvPr/>
        </p:nvSpPr>
        <p:spPr>
          <a:xfrm>
            <a:off x="6227665" y="494324"/>
            <a:ext cx="442217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070C0"/>
                </a:solidFill>
              </a:rPr>
              <a:t>East-West Cargo rates by Air</a:t>
            </a:r>
            <a:endParaRPr lang="en-NZ" sz="2800" dirty="0">
              <a:solidFill>
                <a:srgbClr val="0070C0"/>
              </a:solidFill>
            </a:endParaRPr>
          </a:p>
        </p:txBody>
      </p:sp>
      <p:pic>
        <p:nvPicPr>
          <p:cNvPr id="54" name="Picture 5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CEAA6D39-1182-42F5-8179-E5C1C4F96C3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266" y="6423914"/>
            <a:ext cx="1114150" cy="297394"/>
          </a:xfrm>
          <a:prstGeom prst="rect">
            <a:avLst/>
          </a:prstGeom>
        </p:spPr>
      </p:pic>
      <p:sp>
        <p:nvSpPr>
          <p:cNvPr id="15" name="TextBox 23">
            <a:extLst>
              <a:ext uri="{FF2B5EF4-FFF2-40B4-BE49-F238E27FC236}">
                <a16:creationId xmlns:a16="http://schemas.microsoft.com/office/drawing/2014/main" id="{9E0C2D9F-8070-416C-9FEB-C85A577F08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3826" y="-59160"/>
            <a:ext cx="4422775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>
            <a:lvl1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9pPr>
          </a:lstStyle>
          <a:p>
            <a:r>
              <a:rPr lang="ru-RU" altLang="ru-RU" sz="2800" dirty="0">
                <a:solidFill>
                  <a:schemeClr val="bg1"/>
                </a:solidFill>
              </a:rPr>
              <a:t>Тарифы на авиаперевозки восток-запад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BAD1BA6-1D1C-4D35-916B-B2AB12BDC55C}"/>
              </a:ext>
            </a:extLst>
          </p:cNvPr>
          <p:cNvSpPr txBox="1">
            <a:spLocks noChangeArrowheads="1"/>
          </p:cNvSpPr>
          <p:nvPr/>
        </p:nvSpPr>
        <p:spPr>
          <a:xfrm>
            <a:off x="685751" y="2968157"/>
            <a:ext cx="3259137" cy="921685"/>
          </a:xfrm>
          <a:prstGeom prst="rect">
            <a:avLst/>
          </a:prstGeom>
          <a:ln/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lnSpc>
                <a:spcPct val="90000"/>
              </a:lnSpc>
            </a:pPr>
            <a:r>
              <a:rPr lang="ru-RU" altLang="ru-RU" sz="1800" dirty="0">
                <a:solidFill>
                  <a:srgbClr val="FFFFFF"/>
                </a:solidFill>
                <a:latin typeface="Franklin Gothic Demi" panose="020B0703020102020204" pitchFamily="34" charset="0"/>
              </a:rPr>
              <a:t>На фоне пандемии КОВИД выросли цены на авиаперевозки</a:t>
            </a:r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EEB282A0-8635-4183-BEB9-5405D48C0ED9}"/>
              </a:ext>
            </a:extLst>
          </p:cNvPr>
          <p:cNvSpPr txBox="1">
            <a:spLocks noChangeArrowheads="1"/>
          </p:cNvSpPr>
          <p:nvPr/>
        </p:nvSpPr>
        <p:spPr>
          <a:xfrm>
            <a:off x="446534" y="3872572"/>
            <a:ext cx="3618138" cy="2517993"/>
          </a:xfrm>
          <a:prstGeom prst="rect">
            <a:avLst/>
          </a:prstGeom>
          <a:ln/>
        </p:spPr>
        <p:txBody>
          <a:bodyPr vert="horz" lIns="91440" tIns="45720" rIns="91440" bIns="45720" rtlCol="0" anchor="t">
            <a:normAutofit/>
          </a:bodyPr>
          <a:lstStyle>
            <a:lvl1pPr marL="306000" indent="-306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3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ru-RU" altLang="ru-RU" sz="12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Мощности грузовых авиаперевозок сократились в связи с падением грузоперевозок пассажирскими рейсами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ru-RU" altLang="ru-RU" sz="12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Прибыльность грузоперевозок выросла на фоне ограниченного предложения воздушных грузоперевозок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ru-RU" altLang="ru-RU" sz="12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Онлайн-торговля стимулирует рост индустрии грузовых авиаперевозок.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ru-RU" altLang="ru-RU" sz="12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По данным IATA грузовые авиаперевозки необходимы для быстрого пополнения товарно-материальных запасов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54A645B-2D68-4628-A0D1-DEDA7F74AACF}"/>
              </a:ext>
            </a:extLst>
          </p:cNvPr>
          <p:cNvSpPr/>
          <p:nvPr/>
        </p:nvSpPr>
        <p:spPr>
          <a:xfrm>
            <a:off x="6520649" y="5772940"/>
            <a:ext cx="5534502" cy="20005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400" b="1" dirty="0">
                <a:solidFill>
                  <a:schemeClr val="bg1"/>
                </a:solidFill>
              </a:rPr>
              <a:t>Грузовой индекс восток-запад                 Факторы уровня загрузки (%)</a:t>
            </a:r>
          </a:p>
        </p:txBody>
      </p:sp>
    </p:spTree>
    <p:extLst>
      <p:ext uri="{BB962C8B-B14F-4D97-AF65-F5344CB8AC3E}">
        <p14:creationId xmlns:p14="http://schemas.microsoft.com/office/powerpoint/2010/main" val="28932117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65CBEB3-5DEA-4DA5-A051-58D418CEC0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6B822CC-7DA9-4417-AA94-64CEB676F0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7234" y="4219240"/>
            <a:ext cx="11301984" cy="94997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FA01E88-71CC-4FF3-9E81-51E0C32B45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7234" y="4376057"/>
            <a:ext cx="11303626" cy="2034709"/>
          </a:xfrm>
          <a:prstGeom prst="rect">
            <a:avLst/>
          </a:prstGeom>
          <a:solidFill>
            <a:schemeClr val="bg1">
              <a:alpha val="95000"/>
            </a:schemeClr>
          </a:solidFill>
          <a:ln w="63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0BA8F-CE6F-4E96-A424-89A6DD771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9600" y="4613395"/>
            <a:ext cx="3353432" cy="1336485"/>
          </a:xfrm>
        </p:spPr>
        <p:txBody>
          <a:bodyPr anchor="ctr">
            <a:normAutofit fontScale="90000"/>
          </a:bodyPr>
          <a:lstStyle/>
          <a:p>
            <a:r>
              <a:rPr lang="en-US" dirty="0">
                <a:solidFill>
                  <a:schemeClr val="accent1"/>
                </a:solidFill>
              </a:rPr>
              <a:t>Passenger to freighter conversions (P2F)</a:t>
            </a:r>
            <a:endParaRPr lang="en-NZ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0BE82E-5EC1-44D5-9AA2-238A8B8B98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75" y="4551577"/>
            <a:ext cx="7791891" cy="1776210"/>
          </a:xfr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GB" sz="1600" dirty="0">
                <a:solidFill>
                  <a:schemeClr val="accent1"/>
                </a:solidFill>
              </a:rPr>
              <a:t>Boeing predicts airlines will need 2,430 additional freighters, in latest 20-year cargo outlook (Oct-2020)</a:t>
            </a:r>
          </a:p>
          <a:p>
            <a:pPr>
              <a:lnSpc>
                <a:spcPct val="100000"/>
              </a:lnSpc>
            </a:pPr>
            <a:r>
              <a:rPr lang="en-GB" sz="1600" dirty="0">
                <a:solidFill>
                  <a:schemeClr val="accent1"/>
                </a:solidFill>
              </a:rPr>
              <a:t>Includes 930 new-build widebodies (e.g. 747-8F, 767F and 777F), as well as 1,500 P2F conversions</a:t>
            </a:r>
          </a:p>
          <a:p>
            <a:pPr>
              <a:lnSpc>
                <a:spcPct val="100000"/>
              </a:lnSpc>
            </a:pPr>
            <a:r>
              <a:rPr lang="en-GB" sz="1600" dirty="0" err="1">
                <a:solidFill>
                  <a:schemeClr val="accent1"/>
                </a:solidFill>
              </a:rPr>
              <a:t>Shorthaul</a:t>
            </a:r>
            <a:r>
              <a:rPr lang="en-GB" sz="1600" dirty="0">
                <a:solidFill>
                  <a:schemeClr val="accent1"/>
                </a:solidFill>
              </a:rPr>
              <a:t>/Domestic 737-800BCF now has 134 orders and commitments with 23.9 tonne capacity</a:t>
            </a:r>
            <a:endParaRPr lang="en-NZ" sz="1600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89ADAB-E3C7-49E6-84DF-4C54D38C6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7526" y="5981897"/>
            <a:ext cx="544874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3A98EE3D-8CD1-4C3F-BD1C-C98C9596463C}" type="slidenum">
              <a:rPr lang="en-US">
                <a:solidFill>
                  <a:schemeClr val="tx1"/>
                </a:solidFill>
              </a:rPr>
              <a:pPr>
                <a:spcAft>
                  <a:spcPts val="600"/>
                </a:spcAft>
              </a:pPr>
              <a:t>9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B11229C-2098-4047-A78D-9F3CE6CA6BE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71" y="6541622"/>
            <a:ext cx="1114150" cy="29739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A087495-8CD7-44DE-9FA9-C8466A703649}"/>
              </a:ext>
            </a:extLst>
          </p:cNvPr>
          <p:cNvSpPr txBox="1"/>
          <p:nvPr/>
        </p:nvSpPr>
        <p:spPr>
          <a:xfrm>
            <a:off x="9547413" y="6648105"/>
            <a:ext cx="2644568" cy="252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Image Source: Boeing - </a:t>
            </a:r>
            <a:r>
              <a:rPr lang="en-NZ" sz="1000" b="0" i="0" dirty="0">
                <a:solidFill>
                  <a:srgbClr val="444444"/>
                </a:solidFill>
                <a:effectLst/>
                <a:latin typeface="Hind"/>
              </a:rPr>
              <a:t> </a:t>
            </a:r>
            <a:r>
              <a:rPr lang="en-NZ" sz="1000" b="0" i="0" dirty="0">
                <a:effectLst/>
                <a:latin typeface="Hind"/>
              </a:rPr>
              <a:t>Boeing’s 737-800BCF</a:t>
            </a:r>
            <a:endParaRPr lang="en-NZ" sz="1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4154EE8-1E9F-41D7-81ED-82CE3111ECF6}"/>
              </a:ext>
            </a:extLst>
          </p:cNvPr>
          <p:cNvSpPr txBox="1"/>
          <p:nvPr/>
        </p:nvSpPr>
        <p:spPr>
          <a:xfrm>
            <a:off x="2403618" y="6670192"/>
            <a:ext cx="89105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</a:t>
            </a:r>
            <a:r>
              <a:rPr lang="en-GB" sz="9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ssenger to cargo conversions boom, but can it last? | In depth | Flight Global</a:t>
            </a:r>
            <a:endParaRPr lang="en-NZ" sz="9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74F34B9-6DD5-420E-A328-956FA514572F}"/>
              </a:ext>
            </a:extLst>
          </p:cNvPr>
          <p:cNvSpPr txBox="1"/>
          <p:nvPr/>
        </p:nvSpPr>
        <p:spPr>
          <a:xfrm>
            <a:off x="5058385" y="212131"/>
            <a:ext cx="70363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600" b="0" i="0" dirty="0">
                <a:solidFill>
                  <a:schemeClr val="accent3"/>
                </a:solidFill>
                <a:effectLst/>
                <a:latin typeface="HelveticaNeueW01-55Roma"/>
              </a:rPr>
              <a:t>Boeing 737-800BCF offers newer technology, lower fuel consumption, and primarily used to carry express cargo on domestic or short-haul routes</a:t>
            </a:r>
            <a:endParaRPr lang="en-NZ" sz="1600" dirty="0">
              <a:solidFill>
                <a:schemeClr val="accent3"/>
              </a:solidFill>
            </a:endParaRP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043EA0BA-D76A-4ECD-96DB-82A09423D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7317" y="858726"/>
            <a:ext cx="7037388" cy="584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SzPct val="100000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altLang="ru-RU" sz="1600" dirty="0" err="1">
                <a:latin typeface="HelveticaNeueW01-55Roma"/>
              </a:rPr>
              <a:t>Boeing</a:t>
            </a:r>
            <a:r>
              <a:rPr lang="ru-RU" altLang="ru-RU" sz="1600" dirty="0">
                <a:latin typeface="HelveticaNeueW01-55Roma"/>
              </a:rPr>
              <a:t> 737-800BCF предлагает новые технологии, снижение потребления топлива, и используется в основном для перевозки экспресс-грузов на внутренних и коротких маршрутах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A7212F7-B401-40C3-B379-EF488BCCDBC1}"/>
              </a:ext>
            </a:extLst>
          </p:cNvPr>
          <p:cNvSpPr txBox="1">
            <a:spLocks noChangeArrowheads="1"/>
          </p:cNvSpPr>
          <p:nvPr/>
        </p:nvSpPr>
        <p:spPr>
          <a:xfrm>
            <a:off x="347369" y="2577474"/>
            <a:ext cx="3685031" cy="1336675"/>
          </a:xfrm>
          <a:prstGeom prst="rect">
            <a:avLst/>
          </a:prstGeom>
          <a:ln/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dirty="0">
                <a:latin typeface="Franklin Gothic Demi" panose="020B0703020102020204" pitchFamily="34" charset="0"/>
              </a:rPr>
              <a:t>Конверсия из пассажирских в грузовые (P2F)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1AE79B7-4188-4C9F-8974-6EFD9D4EDBD5}"/>
              </a:ext>
            </a:extLst>
          </p:cNvPr>
          <p:cNvSpPr txBox="1">
            <a:spLocks noChangeArrowheads="1"/>
          </p:cNvSpPr>
          <p:nvPr/>
        </p:nvSpPr>
        <p:spPr>
          <a:xfrm>
            <a:off x="4053181" y="2227226"/>
            <a:ext cx="7791450" cy="1873345"/>
          </a:xfrm>
          <a:prstGeom prst="rect">
            <a:avLst/>
          </a:prstGeom>
          <a:solidFill>
            <a:schemeClr val="accent2"/>
          </a:solidFill>
          <a:ln/>
        </p:spPr>
        <p:txBody>
          <a:bodyPr vert="horz" lIns="91440" tIns="45720" rIns="91440" bIns="45720" rtlCol="0" anchor="ctr">
            <a:normAutofit lnSpcReduction="10000"/>
          </a:bodyPr>
          <a:lstStyle>
            <a:lvl1pPr marL="306000" indent="-306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3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ru-RU" altLang="ru-RU" sz="16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По подсчетам </a:t>
            </a:r>
            <a:r>
              <a:rPr lang="ru-RU" altLang="ru-RU" sz="1600" dirty="0" err="1">
                <a:solidFill>
                  <a:srgbClr val="FFFFFF"/>
                </a:solidFill>
                <a:latin typeface="Franklin Gothic Book" panose="020B0503020102020204" pitchFamily="34" charset="0"/>
              </a:rPr>
              <a:t>Boeing</a:t>
            </a:r>
            <a:r>
              <a:rPr lang="ru-RU" altLang="ru-RU" sz="16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 в последнем прогнозе развития грузовых авиаперевозок на 20 лет (октябрь 2020 г.), авиакомпаниям потребуется 2,430 дополнительных грузовых самолетов</a:t>
            </a:r>
          </a:p>
          <a:p>
            <a:pPr>
              <a:lnSpc>
                <a:spcPct val="90000"/>
              </a:lnSpc>
            </a:pPr>
            <a:r>
              <a:rPr lang="ru-RU" altLang="ru-RU" sz="16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Это включает 930 новых широкофюзеляжных самолетов (например, 747-8F, 767F и 777F), и 1,500 P2F конверсий</a:t>
            </a:r>
          </a:p>
          <a:p>
            <a:pPr>
              <a:lnSpc>
                <a:spcPct val="90000"/>
              </a:lnSpc>
            </a:pPr>
            <a:r>
              <a:rPr lang="ru-RU" altLang="ru-RU" sz="16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737-800BCF для внутренних/коротких рейсов имеет 134 заказа и обязательства, грузоподъемность - 23.9 тонн</a:t>
            </a:r>
          </a:p>
        </p:txBody>
      </p:sp>
    </p:spTree>
    <p:extLst>
      <p:ext uri="{BB962C8B-B14F-4D97-AF65-F5344CB8AC3E}">
        <p14:creationId xmlns:p14="http://schemas.microsoft.com/office/powerpoint/2010/main" val="2812054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HBxhigfu0m1rrKy2UPj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HBxhigfu0m1rrKy2UPj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HBxhigfu0m1rrKy2UPj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HBxhigfu0m1rrKy2UPj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HBxhigfu0m1rrKy2UPj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HBxhigfu0m1rrKy2UPjZA"/>
</p:tagLst>
</file>

<file path=ppt/theme/theme1.xml><?xml version="1.0" encoding="utf-8"?>
<a:theme xmlns:a="http://schemas.openxmlformats.org/drawingml/2006/main" name="DividendVTI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Dividend">
      <a:majorFont>
        <a:latin typeface="Franklin Gothic Demi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VTI" id="{97558BDE-0B66-457C-BB6F-7B1B22DAA9B8}" vid="{F53508A3-AC60-448A-AF37-934D5F1A0D5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DividendVTI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Dividend">
      <a:majorFont>
        <a:latin typeface="Franklin Gothic Demi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VTI" id="{97558BDE-0B66-457C-BB6F-7B1B22DAA9B8}" vid="{F53508A3-AC60-448A-AF37-934D5F1A0D5E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410dd7f93c95333ffa1b60ed6adedd1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a936d9baba76aa3866493feff160faab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27BD4C1-B6B1-4715-ABF9-E660A51A4EA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D289AE2-D2AE-49D1-AFAC-3A79F6794255}">
  <ds:schemaRefs>
    <ds:schemaRef ds:uri="http://purl.org/dc/elements/1.1/"/>
    <ds:schemaRef ds:uri="http://schemas.microsoft.com/office/2006/documentManagement/types"/>
    <ds:schemaRef ds:uri="http://purl.org/dc/terms/"/>
    <ds:schemaRef ds:uri="16c05727-aa75-4e4a-9b5f-8a80a1165891"/>
    <ds:schemaRef ds:uri="http://purl.org/dc/dcmitype/"/>
    <ds:schemaRef ds:uri="71af3243-3dd4-4a8d-8c0d-dd76da1f02a5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1E7CA09-9778-4414-AE97-8064B12DA30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A91FCEF6-225B-4F67-9E33-275726906EB8}tf33552983_win32</Template>
  <TotalTime>7155</TotalTime>
  <Words>2313</Words>
  <Application>Microsoft Office PowerPoint</Application>
  <PresentationFormat>Widescreen</PresentationFormat>
  <Paragraphs>229</Paragraphs>
  <Slides>2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20</vt:i4>
      </vt:variant>
    </vt:vector>
  </HeadingPairs>
  <TitlesOfParts>
    <vt:vector size="34" baseType="lpstr">
      <vt:lpstr>AktivGrotesk</vt:lpstr>
      <vt:lpstr>Arial</vt:lpstr>
      <vt:lpstr>Calibri</vt:lpstr>
      <vt:lpstr>Calibri Light</vt:lpstr>
      <vt:lpstr>Corbel</vt:lpstr>
      <vt:lpstr>Franklin Gothic Book</vt:lpstr>
      <vt:lpstr>Franklin Gothic Demi</vt:lpstr>
      <vt:lpstr>Gill Sans MT</vt:lpstr>
      <vt:lpstr>HelveticaNeueW01-55Roma</vt:lpstr>
      <vt:lpstr>Hind</vt:lpstr>
      <vt:lpstr>Wingdings 2</vt:lpstr>
      <vt:lpstr>DividendVTI</vt:lpstr>
      <vt:lpstr>Office Theme</vt:lpstr>
      <vt:lpstr>1_DividendVTI</vt:lpstr>
      <vt:lpstr>air Cargo  CAREC Aviation and Tourism Webinar, 10 March 2021  Simon Russell CEO, eagleaviation consulting limited  simon@eagleavia.com +64 21 657 050</vt:lpstr>
      <vt:lpstr>In 2017/2018, Intra-carec bilaterals crucial to increase Cargo growth</vt:lpstr>
      <vt:lpstr>CAREC INTER-REGIONAL FLIGHTS – FEB 2019</vt:lpstr>
      <vt:lpstr>How ready is CAREC to handle increased cargo volumes?</vt:lpstr>
      <vt:lpstr>Drop in passenger belly capacity has boosted freighter demand</vt:lpstr>
      <vt:lpstr>Freighter volume up Year-on-year in 2020</vt:lpstr>
      <vt:lpstr>Freighters will continue to drive world air cargo</vt:lpstr>
      <vt:lpstr>Air cargo prices have risen with covid pandemic</vt:lpstr>
      <vt:lpstr>Passenger to freighter conversions (P2F)</vt:lpstr>
      <vt:lpstr>How long will the cargo demand for freighters continue?</vt:lpstr>
      <vt:lpstr>Return of passenger widebody fleet impact on cargo capacity?</vt:lpstr>
      <vt:lpstr>EFFICIENT SUPPLY CHAIN ENABLES EFFECTIVE AIR CARGO</vt:lpstr>
      <vt:lpstr>Coordinated infrastructure maintains vital air cargo routes</vt:lpstr>
      <vt:lpstr>E-commerce top 100 airports</vt:lpstr>
      <vt:lpstr>Liberalization of market access for air cargo</vt:lpstr>
      <vt:lpstr>Fast, efficient processing and transit of air cargo</vt:lpstr>
      <vt:lpstr>STRATEGIC HUBS SUPPORT EFFICIENT TRANSFER OF AIR CARGO</vt:lpstr>
      <vt:lpstr>Damman Airport, Saudi Arabia - competing with World top 20 cargo airports – Dubai, Abu Dhabi, and Doha – Private investment to create logistics hub for road and air, and compete within Saudi Arabia with Jeddah and Riyadh airports</vt:lpstr>
      <vt:lpstr>Multimodal logistics network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Lorem Ipsum</dc:title>
  <dc:creator>Simon Russell</dc:creator>
  <cp:lastModifiedBy>Simon Russell</cp:lastModifiedBy>
  <cp:revision>12</cp:revision>
  <dcterms:created xsi:type="dcterms:W3CDTF">2021-02-23T06:17:32Z</dcterms:created>
  <dcterms:modified xsi:type="dcterms:W3CDTF">2021-03-03T05:3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